
<file path=[Content_Types].xml><?xml version="1.0" encoding="utf-8"?>
<Types xmlns="http://schemas.openxmlformats.org/package/2006/content-types">
  <Default Extension="wmf" ContentType="image/x-w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4" r:id="rId1"/>
  </p:sldMasterIdLst>
  <p:notesMasterIdLst>
    <p:notesMasterId r:id="rId21"/>
  </p:notesMasterIdLst>
  <p:sldIdLst>
    <p:sldId id="303" r:id="rId2"/>
    <p:sldId id="304" r:id="rId3"/>
    <p:sldId id="305" r:id="rId4"/>
    <p:sldId id="307" r:id="rId5"/>
    <p:sldId id="295" r:id="rId6"/>
    <p:sldId id="297" r:id="rId7"/>
    <p:sldId id="313" r:id="rId8"/>
    <p:sldId id="316" r:id="rId9"/>
    <p:sldId id="311" r:id="rId10"/>
    <p:sldId id="310" r:id="rId11"/>
    <p:sldId id="306" r:id="rId12"/>
    <p:sldId id="312" r:id="rId13"/>
    <p:sldId id="309" r:id="rId14"/>
    <p:sldId id="315" r:id="rId15"/>
    <p:sldId id="314" r:id="rId16"/>
    <p:sldId id="292" r:id="rId17"/>
    <p:sldId id="302" r:id="rId18"/>
    <p:sldId id="299" r:id="rId19"/>
    <p:sldId id="301" r:id="rId20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422" autoAdjust="0"/>
    <p:restoredTop sz="87865" autoAdjust="0"/>
  </p:normalViewPr>
  <p:slideViewPr>
    <p:cSldViewPr>
      <p:cViewPr>
        <p:scale>
          <a:sx n="100" d="100"/>
          <a:sy n="100" d="100"/>
        </p:scale>
        <p:origin x="-2100" y="-14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0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7" y="0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0D799A-05EA-4CFC-BB41-767222F0A367}" type="datetimeFigureOut">
              <a:rPr lang="ru-RU" smtClean="0"/>
              <a:t>25.04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9163" y="746125"/>
            <a:ext cx="4959350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6"/>
            <a:ext cx="5438140" cy="44669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4" y="9428585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7" y="9428585"/>
            <a:ext cx="2945659" cy="4963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6A43CC-9FB2-4B20-8F10-6414312ACCF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7100716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 smtClean="0"/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040742E-6929-4DAC-84F0-285911086363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296925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6A43CC-9FB2-4B20-8F10-6414312ACCF5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641565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6A43CC-9FB2-4B20-8F10-6414312ACCF5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641565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6A43CC-9FB2-4B20-8F10-6414312ACCF5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64156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6A43CC-9FB2-4B20-8F10-6414312ACCF5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641565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6A43CC-9FB2-4B20-8F10-6414312ACCF5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6415656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6A43CC-9FB2-4B20-8F10-6414312ACCF5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641565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6A43CC-9FB2-4B20-8F10-6414312ACCF5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641565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6A43CC-9FB2-4B20-8F10-6414312ACCF5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64156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6A43CC-9FB2-4B20-8F10-6414312ACCF5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64156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6A43CC-9FB2-4B20-8F10-6414312ACCF5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64156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6A43CC-9FB2-4B20-8F10-6414312ACCF5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64156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есь</a:t>
            </a:r>
            <a:r>
              <a:rPr lang="ru-RU" baseline="0" dirty="0" smtClean="0"/>
              <a:t> состав комиссии обучен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6A43CC-9FB2-4B20-8F10-6414312ACCF5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64156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6A43CC-9FB2-4B20-8F10-6414312ACCF5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64156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есь</a:t>
            </a:r>
            <a:r>
              <a:rPr lang="ru-RU" baseline="0" dirty="0" smtClean="0"/>
              <a:t> состав комиссии обучен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6A43CC-9FB2-4B20-8F10-6414312ACCF5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641565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26A43CC-9FB2-4B20-8F10-6414312ACCF5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64156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Oval 13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473795" y="5052545"/>
            <a:ext cx="5637010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0E04C-0860-4A6D-9430-78C03CC736A7}" type="datetimeFigureOut">
              <a:rPr lang="ru-RU" smtClean="0"/>
              <a:t>25.04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6E976B-DCD6-4984-BE5F-D517CE27130A}" type="slidenum">
              <a:rPr lang="ru-RU" smtClean="0"/>
              <a:t>‹#›</a:t>
            </a:fld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17581" y="3132290"/>
            <a:ext cx="7175351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905000" y="731519"/>
            <a:ext cx="6400800" cy="347472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0E04C-0860-4A6D-9430-78C03CC736A7}" type="datetimeFigureOut">
              <a:rPr lang="ru-RU" smtClean="0"/>
              <a:t>25.04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6E976B-DCD6-4984-BE5F-D517CE27130A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1153758" y="376517"/>
            <a:ext cx="2057400" cy="5238339"/>
          </a:xfrm>
          <a:effectLst/>
        </p:spPr>
        <p:txBody>
          <a:bodyPr vert="eaVert"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324113" y="731519"/>
            <a:ext cx="4829287" cy="489472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0E04C-0860-4A6D-9430-78C03CC736A7}" type="datetimeFigureOut">
              <a:rPr lang="ru-RU" smtClean="0"/>
              <a:t>25.04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6E976B-DCD6-4984-BE5F-D517CE27130A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3340509" y="554004"/>
            <a:ext cx="5538782" cy="1396426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Table of contents, Arial, 24 pt, black</a:t>
            </a:r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 smtClean="0"/>
              <a:t>I  Title of Presentation  I  Author  I  Date       I  Arial, 8 pt, black</a:t>
            </a:r>
            <a:endParaRPr lang="en-US" noProof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234215" y="6503803"/>
            <a:ext cx="185021" cy="140438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C5D2850B-DC07-4EDE-989F-258AD4830582}" type="slidenum">
              <a:rPr lang="en-US" noProof="0" smtClean="0"/>
              <a:pPr/>
              <a:t>‹#›</a:t>
            </a:fld>
            <a:endParaRPr lang="en-US" noProof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3" hasCustomPrompt="1"/>
          </p:nvPr>
        </p:nvSpPr>
        <p:spPr>
          <a:xfrm>
            <a:off x="3340540" y="2032573"/>
            <a:ext cx="5541467" cy="4095622"/>
          </a:xfrm>
        </p:spPr>
        <p:txBody>
          <a:bodyPr/>
          <a:lstStyle>
            <a:lvl1pPr marL="269875" indent="-269875">
              <a:buFont typeface="+mj-lt"/>
              <a:buAutoNum type="arabicPeriod"/>
              <a:defRPr baseline="0">
                <a:solidFill>
                  <a:schemeClr val="tx2"/>
                </a:solidFill>
              </a:defRPr>
            </a:lvl1pPr>
            <a:lvl2pPr marL="539750" indent="-269875">
              <a:spcBef>
                <a:spcPts val="400"/>
              </a:spcBef>
              <a:buClrTx/>
              <a:buFont typeface="Arial" pitchFamily="34" charset="0"/>
              <a:buChar char="–"/>
              <a:defRPr>
                <a:solidFill>
                  <a:schemeClr val="tx2"/>
                </a:solidFill>
              </a:defRPr>
            </a:lvl2pPr>
            <a:lvl3pPr marL="612775" indent="-342900">
              <a:buFont typeface="+mj-lt"/>
              <a:buAutoNum type="arabicPeriod"/>
              <a:defRPr/>
            </a:lvl3pPr>
            <a:lvl4pPr marL="882650" indent="-342900">
              <a:buFont typeface="+mj-lt"/>
              <a:buAutoNum type="arabicPeriod"/>
              <a:defRPr/>
            </a:lvl4pPr>
            <a:lvl5pPr marL="2171700" indent="-342900">
              <a:buFont typeface="+mj-lt"/>
              <a:buAutoNum type="arabicPeriod"/>
              <a:defRPr/>
            </a:lvl5pPr>
          </a:lstStyle>
          <a:p>
            <a:r>
              <a:rPr lang="en-US" noProof="0" smtClean="0"/>
              <a:t>Chapter, Arial, 18 pt, black</a:t>
            </a:r>
          </a:p>
          <a:p>
            <a:r>
              <a:rPr lang="en-US" noProof="0" smtClean="0"/>
              <a:t>Chapter</a:t>
            </a:r>
          </a:p>
          <a:p>
            <a:r>
              <a:rPr lang="en-US" noProof="0" smtClean="0"/>
              <a:t>Chapter</a:t>
            </a:r>
          </a:p>
          <a:p>
            <a:pPr lvl="1"/>
            <a:r>
              <a:rPr lang="en-US" noProof="0" smtClean="0"/>
              <a:t>Level 1, Arial, 18 pt, black</a:t>
            </a:r>
          </a:p>
          <a:p>
            <a:pPr lvl="1"/>
            <a:r>
              <a:rPr lang="en-US" noProof="0" smtClean="0"/>
              <a:t>Level 1</a:t>
            </a:r>
          </a:p>
          <a:p>
            <a:r>
              <a:rPr lang="en-US" noProof="0" smtClean="0"/>
              <a:t>Chapter</a:t>
            </a:r>
          </a:p>
        </p:txBody>
      </p:sp>
      <p:grpSp>
        <p:nvGrpSpPr>
          <p:cNvPr id="14" name="Group 40"/>
          <p:cNvGrpSpPr>
            <a:grpSpLocks/>
          </p:cNvGrpSpPr>
          <p:nvPr userDrawn="1"/>
        </p:nvGrpSpPr>
        <p:grpSpPr bwMode="auto">
          <a:xfrm>
            <a:off x="2909084" y="469032"/>
            <a:ext cx="6035367" cy="6269447"/>
            <a:chOff x="2143" y="259"/>
            <a:chExt cx="4446" cy="3462"/>
          </a:xfrm>
        </p:grpSpPr>
        <p:sp>
          <p:nvSpPr>
            <p:cNvPr id="23" name="Line 41"/>
            <p:cNvSpPr>
              <a:spLocks noChangeShapeType="1"/>
            </p:cNvSpPr>
            <p:nvPr>
              <p:custDataLst>
                <p:tags r:id="rId1"/>
              </p:custDataLst>
            </p:nvPr>
          </p:nvSpPr>
          <p:spPr bwMode="auto">
            <a:xfrm flipV="1">
              <a:off x="246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4" name="Line 42"/>
            <p:cNvSpPr>
              <a:spLocks noChangeShapeType="1"/>
            </p:cNvSpPr>
            <p:nvPr>
              <p:custDataLst>
                <p:tags r:id="rId2"/>
              </p:custDataLst>
            </p:nvPr>
          </p:nvSpPr>
          <p:spPr bwMode="auto">
            <a:xfrm flipV="1">
              <a:off x="6541" y="259"/>
              <a:ext cx="0" cy="3462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5" name="Line 43"/>
            <p:cNvSpPr>
              <a:spLocks noChangeShapeType="1"/>
            </p:cNvSpPr>
            <p:nvPr>
              <p:custDataLst>
                <p:tags r:id="rId3"/>
              </p:custDataLst>
            </p:nvPr>
          </p:nvSpPr>
          <p:spPr bwMode="auto">
            <a:xfrm flipH="1">
              <a:off x="4521" y="3673"/>
              <a:ext cx="2068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6" name="Line 44"/>
            <p:cNvSpPr>
              <a:spLocks noChangeShapeType="1"/>
            </p:cNvSpPr>
            <p:nvPr>
              <p:custDataLst>
                <p:tags r:id="rId4"/>
              </p:custDataLst>
            </p:nvPr>
          </p:nvSpPr>
          <p:spPr bwMode="auto">
            <a:xfrm>
              <a:off x="2370" y="351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7" name="Line 45"/>
            <p:cNvSpPr>
              <a:spLocks noChangeShapeType="1"/>
            </p:cNvSpPr>
            <p:nvPr>
              <p:custDataLst>
                <p:tags r:id="rId5"/>
              </p:custDataLst>
            </p:nvPr>
          </p:nvSpPr>
          <p:spPr bwMode="auto">
            <a:xfrm>
              <a:off x="2370" y="1122"/>
              <a:ext cx="4219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8" name="Line 46"/>
            <p:cNvSpPr>
              <a:spLocks noChangeShapeType="1"/>
            </p:cNvSpPr>
            <p:nvPr>
              <p:custDataLst>
                <p:tags r:id="rId6"/>
              </p:custDataLst>
            </p:nvPr>
          </p:nvSpPr>
          <p:spPr bwMode="auto">
            <a:xfrm flipH="1">
              <a:off x="2143" y="3384"/>
              <a:ext cx="4446" cy="0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  <p:sp>
          <p:nvSpPr>
            <p:cNvPr id="29" name="Line 47"/>
            <p:cNvSpPr>
              <a:spLocks noChangeShapeType="1"/>
            </p:cNvSpPr>
            <p:nvPr>
              <p:custDataLst>
                <p:tags r:id="rId7"/>
              </p:custDataLst>
            </p:nvPr>
          </p:nvSpPr>
          <p:spPr bwMode="auto">
            <a:xfrm flipV="1">
              <a:off x="2270" y="2855"/>
              <a:ext cx="0" cy="866"/>
            </a:xfrm>
            <a:prstGeom prst="line">
              <a:avLst/>
            </a:prstGeom>
            <a:noFill/>
            <a:ln w="9525">
              <a:noFill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noProof="0"/>
            </a:p>
          </p:txBody>
        </p:sp>
      </p:grpSp>
    </p:spTree>
    <p:extLst>
      <p:ext uri="{BB962C8B-B14F-4D97-AF65-F5344CB8AC3E}">
        <p14:creationId xmlns:p14="http://schemas.microsoft.com/office/powerpoint/2010/main" val="1744003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0E04C-0860-4A6D-9430-78C03CC736A7}" type="datetimeFigureOut">
              <a:rPr lang="ru-RU" smtClean="0"/>
              <a:t>25.04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6E976B-DCD6-4984-BE5F-D517CE27130A}" type="slidenum">
              <a:rPr lang="ru-RU" smtClean="0"/>
              <a:t>‹#›</a:t>
            </a:fld>
            <a:endParaRPr lang="ru-RU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10" name="Content Placeholder 9"/>
          <p:cNvSpPr>
            <a:spLocks noGrp="1"/>
          </p:cNvSpPr>
          <p:nvPr>
            <p:ph sz="quarter" idx="13"/>
          </p:nvPr>
        </p:nvSpPr>
        <p:spPr>
          <a:xfrm>
            <a:off x="1143000" y="731520"/>
            <a:ext cx="6400800" cy="34747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3195" y="2172648"/>
            <a:ext cx="5966666" cy="2423346"/>
          </a:xfrm>
          <a:effectLst/>
        </p:spPr>
        <p:txBody>
          <a:bodyPr anchor="b"/>
          <a:lstStyle>
            <a:lvl1pPr algn="r">
              <a:defRPr sz="4600" b="1" cap="none" baseline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022438" y="4607511"/>
            <a:ext cx="5970494" cy="835460"/>
          </a:xfrm>
        </p:spPr>
        <p:txBody>
          <a:bodyPr anchor="t"/>
          <a:lstStyle>
            <a:lvl1pPr marL="0" indent="0" algn="r">
              <a:buNone/>
              <a:defRPr sz="2000">
                <a:solidFill>
                  <a:schemeClr val="tx2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0E04C-0860-4A6D-9430-78C03CC736A7}" type="datetimeFigureOut">
              <a:rPr lang="ru-RU" smtClean="0"/>
              <a:t>25.04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6E976B-DCD6-4984-BE5F-D517CE27130A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0E04C-0860-4A6D-9430-78C03CC736A7}" type="datetimeFigureOut">
              <a:rPr lang="ru-RU" smtClean="0"/>
              <a:t>25.04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6E976B-DCD6-4984-BE5F-D517CE27130A}" type="slidenum">
              <a:rPr lang="ru-RU" smtClean="0"/>
              <a:t>‹#›</a:t>
            </a:fld>
            <a:endParaRPr lang="ru-RU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13"/>
          </p:nvPr>
        </p:nvSpPr>
        <p:spPr>
          <a:xfrm>
            <a:off x="1142999" y="731519"/>
            <a:ext cx="3346704" cy="34747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4645152" y="731520"/>
            <a:ext cx="3346704" cy="34747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56447" y="1400327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7302" y="731520"/>
            <a:ext cx="3346704" cy="639762"/>
          </a:xfrm>
        </p:spPr>
        <p:txBody>
          <a:bodyPr anchor="b">
            <a:noAutofit/>
          </a:bodyPr>
          <a:lstStyle>
            <a:lvl1pPr marL="0" indent="0" algn="ctr">
              <a:buNone/>
              <a:defRPr lang="en-US" sz="2400" b="1" i="0" kern="1200" dirty="0" smtClean="0">
                <a:gradFill>
                  <a:gsLst>
                    <a:gs pos="0">
                      <a:schemeClr val="tx1"/>
                    </a:gs>
                    <a:gs pos="40000">
                      <a:schemeClr val="tx1">
                        <a:lumMod val="75000"/>
                        <a:lumOff val="25000"/>
                      </a:schemeClr>
                    </a:gs>
                    <a:gs pos="100000">
                      <a:schemeClr val="tx2">
                        <a:alpha val="65000"/>
                      </a:schemeClr>
                    </a:gs>
                  </a:gsLst>
                  <a:lin ang="5400000" scaled="0"/>
                </a:gradFill>
                <a:effectLst/>
                <a:latin typeface="+mj-lt"/>
                <a:ea typeface="+mj-ea"/>
                <a:cs typeface="+mj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0" lvl="0" indent="0" algn="ctr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</a:pPr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1399032"/>
            <a:ext cx="3346704" cy="2743200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0E04C-0860-4A6D-9430-78C03CC736A7}" type="datetimeFigureOut">
              <a:rPr lang="ru-RU" smtClean="0"/>
              <a:t>25.04.2019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6E976B-DCD6-4984-BE5F-D517CE27130A}" type="slidenum">
              <a:rPr lang="ru-RU" smtClean="0"/>
              <a:t>‹#›</a:t>
            </a:fld>
            <a:endParaRPr lang="ru-RU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0E04C-0860-4A6D-9430-78C03CC736A7}" type="datetimeFigureOut">
              <a:rPr lang="ru-RU" smtClean="0"/>
              <a:t>25.04.2019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6E976B-DCD6-4984-BE5F-D517CE27130A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0E04C-0860-4A6D-9430-78C03CC736A7}" type="datetimeFigureOut">
              <a:rPr lang="ru-RU" smtClean="0"/>
              <a:t>25.04.2019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6E976B-DCD6-4984-BE5F-D517CE27130A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095" y="2209800"/>
            <a:ext cx="3636085" cy="1258493"/>
          </a:xfrm>
          <a:effectLst/>
        </p:spPr>
        <p:txBody>
          <a:bodyPr anchor="b">
            <a:noAutofit/>
          </a:bodyPr>
          <a:lstStyle>
            <a:lvl1pPr marL="228600" indent="-228600" algn="l">
              <a:defRPr sz="2800" b="1">
                <a:effectLst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93515" y="731520"/>
            <a:ext cx="4017085" cy="4894730"/>
          </a:xfrm>
        </p:spPr>
        <p:txBody>
          <a:bodyPr anchor="ctr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75765" y="3497802"/>
            <a:ext cx="3388660" cy="21395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0E04C-0860-4A6D-9430-78C03CC736A7}" type="datetimeFigureOut">
              <a:rPr lang="ru-RU" smtClean="0"/>
              <a:t>25.04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6E976B-DCD6-4984-BE5F-D517CE27130A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3866920"/>
            <a:ext cx="9144000" cy="2991080"/>
          </a:xfrm>
          <a:prstGeom prst="rect">
            <a:avLst/>
          </a:prstGeom>
          <a:gradFill>
            <a:gsLst>
              <a:gs pos="0">
                <a:schemeClr val="bg1">
                  <a:alpha val="92000"/>
                </a:schemeClr>
              </a:gs>
              <a:gs pos="37000">
                <a:schemeClr val="bg1">
                  <a:alpha val="77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386692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90000"/>
                </a:schemeClr>
              </a:gs>
              <a:gs pos="48000">
                <a:schemeClr val="bg1">
                  <a:alpha val="63000"/>
                </a:schemeClr>
              </a:gs>
              <a:gs pos="100000">
                <a:schemeClr val="bg2">
                  <a:alpha val="80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0" y="2652311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Oval 10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4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4475175" y="1143000"/>
            <a:ext cx="4114800" cy="3127806"/>
          </a:xfrm>
          <a:prstGeom prst="roundRect">
            <a:avLst>
              <a:gd name="adj" fmla="val 4230"/>
            </a:avLst>
          </a:prstGeom>
          <a:solidFill>
            <a:schemeClr val="bg2">
              <a:lumMod val="90000"/>
            </a:schemeClr>
          </a:solidFill>
          <a:effectLst>
            <a:reflection blurRad="4350" stA="23000" endA="300" endPos="28000" dir="5400000" sy="-100000" algn="bl" rotWithShape="0"/>
          </a:effectLst>
          <a:scene3d>
            <a:camera prst="perspectiveContrastingLeftFacing" fov="1800000">
              <a:rot lat="300000" lon="2100000" rev="0"/>
            </a:camera>
            <a:lightRig rig="balanced" dir="t"/>
          </a:scene3d>
          <a:sp3d>
            <a:bevelT w="50800" h="50800"/>
          </a:sp3d>
        </p:spPr>
        <p:txBody>
          <a:bodyPr>
            <a:normAutofit/>
            <a:flatTx/>
          </a:bodyPr>
          <a:lstStyle>
            <a:lvl1pPr marL="0" indent="0" algn="ctr">
              <a:buNone/>
              <a:defRPr sz="20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77887" y="1010486"/>
            <a:ext cx="3694114" cy="2163020"/>
          </a:xfrm>
        </p:spPr>
        <p:txBody>
          <a:bodyPr anchor="b"/>
          <a:lstStyle>
            <a:lvl1pPr marL="182880" indent="-182880">
              <a:buFont typeface="Georgia" pitchFamily="18" charset="0"/>
              <a:buChar char="*"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70E04C-0860-4A6D-9430-78C03CC736A7}" type="datetimeFigureOut">
              <a:rPr lang="ru-RU" smtClean="0"/>
              <a:t>25.04.2019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46E976B-DCD6-4984-BE5F-D517CE27130A}" type="slidenum">
              <a:rPr lang="ru-RU" smtClean="0"/>
              <a:t>‹#›</a:t>
            </a:fld>
            <a:endParaRPr lang="ru-R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7268" y="4464421"/>
            <a:ext cx="6383538" cy="1143000"/>
          </a:xfrm>
        </p:spPr>
        <p:txBody>
          <a:bodyPr anchor="b">
            <a:noAutofit/>
          </a:bodyPr>
          <a:lstStyle>
            <a:lvl1pPr algn="l">
              <a:defRPr sz="4600" b="1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5105400"/>
            <a:ext cx="9144000" cy="1752600"/>
          </a:xfrm>
          <a:prstGeom prst="rect">
            <a:avLst/>
          </a:prstGeom>
          <a:gradFill>
            <a:gsLst>
              <a:gs pos="0">
                <a:schemeClr val="bg1">
                  <a:alpha val="91000"/>
                </a:schemeClr>
              </a:gs>
              <a:gs pos="37000">
                <a:schemeClr val="bg1">
                  <a:alpha val="76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0" y="0"/>
            <a:ext cx="9144000" cy="51054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89000"/>
                </a:schemeClr>
              </a:gs>
              <a:gs pos="48000">
                <a:schemeClr val="bg1">
                  <a:alpha val="62000"/>
                </a:schemeClr>
              </a:gs>
              <a:gs pos="100000">
                <a:schemeClr val="bg2">
                  <a:alpha val="79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3768304"/>
            <a:ext cx="9144000" cy="2286000"/>
          </a:xfrm>
          <a:prstGeom prst="rect">
            <a:avLst/>
          </a:prstGeom>
          <a:gradFill flip="none" rotWithShape="1">
            <a:gsLst>
              <a:gs pos="0">
                <a:schemeClr val="bg1">
                  <a:alpha val="0"/>
                </a:schemeClr>
              </a:gs>
              <a:gs pos="29000">
                <a:schemeClr val="bg1">
                  <a:alpha val="30000"/>
                </a:schemeClr>
              </a:gs>
              <a:gs pos="45000">
                <a:schemeClr val="bg2">
                  <a:alpha val="40000"/>
                </a:schemeClr>
              </a:gs>
              <a:gs pos="55000">
                <a:schemeClr val="bg1">
                  <a:alpha val="26000"/>
                </a:schemeClr>
              </a:gs>
              <a:gs pos="65000">
                <a:schemeClr val="bg2">
                  <a:alpha val="60000"/>
                </a:schemeClr>
              </a:gs>
              <a:gs pos="10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Oval 9"/>
          <p:cNvSpPr/>
          <p:nvPr/>
        </p:nvSpPr>
        <p:spPr>
          <a:xfrm>
            <a:off x="0" y="1600200"/>
            <a:ext cx="9144000" cy="5105400"/>
          </a:xfrm>
          <a:prstGeom prst="ellipse">
            <a:avLst/>
          </a:prstGeom>
          <a:gradFill flip="none" rotWithShape="1">
            <a:gsLst>
              <a:gs pos="0">
                <a:schemeClr val="bg1"/>
              </a:gs>
              <a:gs pos="56000">
                <a:schemeClr val="bg1">
                  <a:alpha val="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93289" y="4372168"/>
            <a:ext cx="6512511" cy="1143000"/>
          </a:xfrm>
          <a:prstGeom prst="rect">
            <a:avLst/>
          </a:prstGeom>
          <a:effectLst/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43000" y="732260"/>
            <a:ext cx="6400800" cy="34747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72200" y="6172200"/>
            <a:ext cx="2514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3B70E04C-0860-4A6D-9430-78C03CC736A7}" type="datetimeFigureOut">
              <a:rPr lang="ru-RU" smtClean="0"/>
              <a:t>25.04.2019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57199" y="6172200"/>
            <a:ext cx="335280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810000" y="6172200"/>
            <a:ext cx="1828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846E976B-DCD6-4984-BE5F-D517CE27130A}" type="slidenum">
              <a:rPr lang="ru-RU" smtClean="0"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timing>
    <p:tnLst>
      <p:par>
        <p:cTn id="1" dur="indefinite" restart="never" nodeType="tmRoot"/>
      </p:par>
    </p:tnLst>
  </p:timing>
  <p:txStyles>
    <p:titleStyle>
      <a:lvl1pPr marL="320040" indent="-320040" algn="r" defTabSz="914400" rtl="0" eaLnBrk="1" latinLnBrk="0" hangingPunct="1">
        <a:spcBef>
          <a:spcPct val="0"/>
        </a:spcBef>
        <a:buClr>
          <a:schemeClr val="accent6">
            <a:lumMod val="75000"/>
          </a:schemeClr>
        </a:buClr>
        <a:buSzPct val="128000"/>
        <a:buFont typeface="Georgia" pitchFamily="18" charset="0"/>
        <a:buChar char="*"/>
        <a:defRPr sz="4600" b="1" i="0" kern="1200">
          <a:gradFill>
            <a:gsLst>
              <a:gs pos="0">
                <a:schemeClr val="tx1"/>
              </a:gs>
              <a:gs pos="40000">
                <a:schemeClr val="tx1">
                  <a:lumMod val="75000"/>
                  <a:lumOff val="25000"/>
                </a:schemeClr>
              </a:gs>
              <a:gs pos="100000">
                <a:schemeClr val="tx2">
                  <a:alpha val="65000"/>
                </a:schemeClr>
              </a:gs>
            </a:gsLst>
            <a:lin ang="5400000" scaled="0"/>
          </a:gradFill>
          <a:effectLst>
            <a:reflection blurRad="6350" stA="55000" endA="300" endPos="45500" dir="5400000" sy="-100000" algn="bl" rotWithShape="0"/>
          </a:effectLst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286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54864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822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09728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138988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664208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96596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2286000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2587752" indent="-182880" algn="l" defTabSz="914400" rtl="0" eaLnBrk="1" latinLnBrk="0" hangingPunct="1">
        <a:spcBef>
          <a:spcPct val="20000"/>
        </a:spcBef>
        <a:spcAft>
          <a:spcPts val="300"/>
        </a:spcAft>
        <a:buClr>
          <a:schemeClr val="accent6">
            <a:lumMod val="75000"/>
          </a:schemeClr>
        </a:buClr>
        <a:buSzPct val="130000"/>
        <a:buFont typeface="Georgia" pitchFamily="18" charset="0"/>
        <a:buChar char="*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w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hyperlink" Target="consultantplus://offline/ref=58DC906CFEF30E8416C6B67CCFB5B4E2161E1DE4F9BD9C11B026EEA226C55F57E4FD45C2033EFDF68CA9AC715CD77B48E336C9C7160DD52CJ6e6H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2.xml"/><Relationship Id="rId5" Type="http://schemas.openxmlformats.org/officeDocument/2006/relationships/hyperlink" Target="consultantplus://offline/ref=58DC906CFEF30E8416C6B67CCFB5B4E2151617E7F7B59C11B026EEA226C55F57F6FD1DCE0239E3F78BBCFA2019J8eBH" TargetMode="External"/><Relationship Id="rId4" Type="http://schemas.openxmlformats.org/officeDocument/2006/relationships/hyperlink" Target="#Par165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 rot="10800000" flipV="1">
            <a:off x="323528" y="188640"/>
            <a:ext cx="941388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Box 1"/>
          <p:cNvSpPr txBox="1">
            <a:spLocks noChangeArrowheads="1"/>
          </p:cNvSpPr>
          <p:nvPr/>
        </p:nvSpPr>
        <p:spPr bwMode="auto">
          <a:xfrm>
            <a:off x="3635897" y="5373216"/>
            <a:ext cx="5263454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 eaLnBrk="1" hangingPunct="1"/>
            <a:r>
              <a:rPr lang="ru-RU" sz="1600" b="1" u="sng" dirty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кладчик</a:t>
            </a:r>
            <a:r>
              <a:rPr lang="ru-RU" sz="1600" b="1" u="sng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algn="r" eaLnBrk="1" hangingPunct="1"/>
            <a:r>
              <a:rPr lang="ru-RU" sz="1600" b="1" u="sng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асютина Марина Владимировна</a:t>
            </a:r>
            <a:r>
              <a:rPr lang="ru-RU" sz="16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</a:p>
          <a:p>
            <a:pPr algn="r" eaLnBrk="1" hangingPunct="1"/>
            <a:r>
              <a:rPr lang="ru-RU" sz="16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меститель директора</a:t>
            </a:r>
          </a:p>
          <a:p>
            <a:pPr algn="r" eaLnBrk="1" hangingPunct="1"/>
            <a:r>
              <a:rPr lang="ru-RU" sz="16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ниципального казенного учреждения</a:t>
            </a:r>
          </a:p>
          <a:p>
            <a:pPr algn="r" eaLnBrk="1" hangingPunct="1"/>
            <a:r>
              <a:rPr lang="ru-RU" sz="1600" b="1" dirty="0" smtClean="0">
                <a:solidFill>
                  <a:schemeClr val="bg2">
                    <a:lumMod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Управление обеспечения жизнедеятельности»</a:t>
            </a:r>
            <a:endParaRPr lang="ru-RU" sz="1600" b="1" dirty="0">
              <a:solidFill>
                <a:schemeClr val="bg2">
                  <a:lumMod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2267744" y="62068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1458636" y="453211"/>
            <a:ext cx="75963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дминистрация Тюменского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униципального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йона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398394" y="1390460"/>
            <a:ext cx="8503815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i="1" dirty="0" smtClean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Обеспечение внедрения и </a:t>
            </a:r>
            <a:r>
              <a:rPr lang="ru-RU" sz="3200" b="1" i="1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(или) реализации системы управления охраной труда, </a:t>
            </a:r>
            <a:endParaRPr lang="ru-RU" sz="3200" b="1" i="1" dirty="0" smtClean="0">
              <a:solidFill>
                <a:schemeClr val="accent1">
                  <a:lumMod val="50000"/>
                </a:schemeClr>
              </a:solidFill>
              <a:latin typeface="Arial Black" panose="020B0A04020102020204" pitchFamily="34" charset="0"/>
            </a:endParaRPr>
          </a:p>
          <a:p>
            <a:pPr algn="ctr"/>
            <a:r>
              <a:rPr lang="ru-RU" sz="3200" b="1" i="1" dirty="0" smtClean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выполнение </a:t>
            </a:r>
            <a:r>
              <a:rPr lang="ru-RU" sz="3200" b="1" i="1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показателей </a:t>
            </a:r>
            <a:endParaRPr lang="ru-RU" sz="3200" b="1" i="1" dirty="0" smtClean="0">
              <a:solidFill>
                <a:schemeClr val="accent1">
                  <a:lumMod val="50000"/>
                </a:schemeClr>
              </a:solidFill>
              <a:latin typeface="Arial Black" panose="020B0A04020102020204" pitchFamily="34" charset="0"/>
            </a:endParaRPr>
          </a:p>
          <a:p>
            <a:pPr algn="ctr"/>
            <a:r>
              <a:rPr lang="ru-RU" sz="3200" b="1" i="1" dirty="0" smtClean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по </a:t>
            </a:r>
            <a:r>
              <a:rPr lang="ru-RU" sz="3200" b="1" i="1" dirty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охране </a:t>
            </a:r>
            <a:r>
              <a:rPr lang="ru-RU" sz="3200" b="1" i="1" dirty="0" smtClean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труда на территории муниципального образования </a:t>
            </a:r>
          </a:p>
          <a:p>
            <a:pPr algn="ctr"/>
            <a:r>
              <a:rPr lang="ru-RU" sz="3200" b="1" i="1" dirty="0" smtClean="0">
                <a:solidFill>
                  <a:schemeClr val="accent1">
                    <a:lumMod val="50000"/>
                  </a:schemeClr>
                </a:solidFill>
                <a:latin typeface="Arial Black" panose="020B0A04020102020204" pitchFamily="34" charset="0"/>
              </a:rPr>
              <a:t>п. Боровский</a:t>
            </a:r>
            <a:endParaRPr lang="ru-RU" sz="3200" b="1" i="1" dirty="0">
              <a:solidFill>
                <a:schemeClr val="accent1">
                  <a:lumMod val="50000"/>
                </a:schemeClr>
              </a:solidFill>
              <a:latin typeface="Arial Black" panose="020B0A0402010202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4420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539552" y="692696"/>
            <a:ext cx="8064896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sz="32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стоянию на </a:t>
            </a:r>
            <a:r>
              <a:rPr lang="ru-RU" sz="3200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1.04.2019 </a:t>
            </a:r>
            <a:r>
              <a:rPr lang="ru-RU" sz="32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а </a:t>
            </a:r>
            <a:endParaRPr lang="ru-RU" sz="3200" b="1" i="1" dirty="0" smtClean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3200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32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юменском муниципальном районе </a:t>
            </a:r>
            <a:r>
              <a:rPr lang="ru-RU" sz="3200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</a:p>
          <a:p>
            <a:pPr algn="ctr"/>
            <a:r>
              <a:rPr lang="ru-RU" sz="3200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ля </a:t>
            </a:r>
            <a:r>
              <a:rPr lang="ru-RU" sz="32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ученных по охране труда от подлежащих обучению в учебных центрах составляет </a:t>
            </a:r>
            <a:r>
              <a:rPr lang="ru-RU" sz="3200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го 28,3%</a:t>
            </a:r>
            <a:endParaRPr lang="ru-RU" sz="3200" b="1" i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3629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дзаголовок 1"/>
          <p:cNvSpPr txBox="1">
            <a:spLocks/>
          </p:cNvSpPr>
          <p:nvPr/>
        </p:nvSpPr>
        <p:spPr>
          <a:xfrm>
            <a:off x="454807" y="260648"/>
            <a:ext cx="8208912" cy="144016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22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9728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89888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664208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965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860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587752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" indent="0" algn="ctr">
              <a:buNone/>
            </a:pPr>
            <a:endParaRPr lang="ru-RU" sz="2800" b="1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8448598"/>
              </p:ext>
            </p:extLst>
          </p:nvPr>
        </p:nvGraphicFramePr>
        <p:xfrm>
          <a:off x="179510" y="188635"/>
          <a:ext cx="8784976" cy="611585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22794"/>
                <a:gridCol w="1001732"/>
                <a:gridCol w="422794"/>
                <a:gridCol w="393967"/>
                <a:gridCol w="480446"/>
                <a:gridCol w="912850"/>
                <a:gridCol w="768716"/>
                <a:gridCol w="1220335"/>
                <a:gridCol w="1220335"/>
                <a:gridCol w="1037766"/>
                <a:gridCol w="903241"/>
              </a:tblGrid>
              <a:tr h="144617">
                <a:tc gridSpan="11">
                  <a:txBody>
                    <a:bodyPr/>
                    <a:lstStyle/>
                    <a:p>
                      <a:pPr algn="ctr" fontAlgn="ctr"/>
                      <a:r>
                        <a:rPr lang="ru-RU" sz="1050" b="1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ормация  о проведении обучения по охране труда в муниципальных образованиях на 01.04.2019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44617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</a:t>
                      </a:r>
                      <a:r>
                        <a:rPr lang="ru-RU" sz="9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п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род, район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учено, чел.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го обучено со 2 квартала 2016 по 1 квартал 2019 г.г., чел.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0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длежит обучению в учебных центрах, чел**</a:t>
                      </a:r>
                      <a:endParaRPr lang="ru-RU" sz="10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ля обученных по охране труда от подлежащих обучению в учебных центрах, %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43085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6 (2-4 кварталы)</a:t>
                      </a:r>
                      <a:endParaRPr lang="ru-RU" sz="90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 квартал 2019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 юридических лиц, </a:t>
                      </a:r>
                      <a:r>
                        <a:rPr lang="ru-RU" sz="9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чтеных</a:t>
                      </a:r>
                      <a:r>
                        <a:rPr lang="ru-RU" sz="9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в статистическом регистре на 01.01.2019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т индивидуальных предпринимателей </a:t>
                      </a:r>
                      <a:r>
                        <a:rPr lang="ru-RU" sz="9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чтеных</a:t>
                      </a:r>
                      <a:r>
                        <a:rPr lang="ru-RU" sz="9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, в статистическом регистре на 01.01.2019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ая минимальная численность подлежащих обучению в учебных центрах</a:t>
                      </a:r>
                      <a:endParaRPr lang="ru-RU" sz="9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5423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юменская область (без автономных округов)</a:t>
                      </a:r>
                      <a:endParaRPr lang="ru-RU" sz="105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362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163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689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907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4121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187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783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3344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,9</a:t>
                      </a:r>
                      <a:endParaRPr lang="ru-RU" sz="1050" b="1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144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рокинский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144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ватский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0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9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144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 Ишим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3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0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3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8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6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1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0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144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 Тобольск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9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0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2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2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85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4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8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10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2,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144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Юргинский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5,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144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поровский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5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4,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2844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лышмановский городской округ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4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2,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144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шимский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9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8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5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,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144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икуловский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2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9,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144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рдюжский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9,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144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сетский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1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6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7,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144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 Ялуторовск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5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5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8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2,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144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батский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5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,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144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ромашевский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,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144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гайский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4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,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21121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водоуковский</a:t>
                      </a:r>
                      <a:r>
                        <a:rPr lang="ru-RU" sz="9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городской округ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1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7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4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,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144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ладковский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,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144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больский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,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144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рмизонский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8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,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144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луторовский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9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2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,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144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занский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9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,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144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утинский</a:t>
                      </a:r>
                      <a:endParaRPr lang="ru-RU" sz="9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9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,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27247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жнетавдинский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50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2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,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144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 Тюмень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32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62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48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2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35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59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65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142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,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144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u="none" strike="noStrike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рковский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4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2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1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4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,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  <a:tr h="14461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sng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</a:t>
                      </a:r>
                      <a:endParaRPr lang="ru-RU" sz="1100" b="1" i="0" u="sng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u="sng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юменский</a:t>
                      </a:r>
                      <a:endParaRPr lang="ru-RU" sz="900" b="1" i="0" u="sng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sng" strike="noStrike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51</a:t>
                      </a:r>
                      <a:endParaRPr lang="ru-RU" sz="1100" b="1" i="0" u="sng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sng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9</a:t>
                      </a:r>
                      <a:endParaRPr lang="ru-RU" sz="1100" b="1" i="0" u="sng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sng" strike="noStrike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69</a:t>
                      </a:r>
                      <a:endParaRPr lang="ru-RU" sz="1100" b="1" i="0" u="sng" strike="noStrike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sng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</a:t>
                      </a:r>
                      <a:endParaRPr lang="ru-RU" sz="1100" b="1" i="0" u="sng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sng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70</a:t>
                      </a:r>
                      <a:endParaRPr lang="ru-RU" sz="1100" b="1" i="0" u="sng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sng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57</a:t>
                      </a:r>
                      <a:endParaRPr lang="ru-RU" sz="1100" b="1" i="0" u="sng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sng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40</a:t>
                      </a:r>
                      <a:endParaRPr lang="ru-RU" sz="1100" b="1" i="0" u="sng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sng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111</a:t>
                      </a:r>
                      <a:endParaRPr lang="ru-RU" sz="1100" b="1" i="0" u="sng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sng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,3</a:t>
                      </a:r>
                      <a:endParaRPr lang="ru-RU" sz="1100" b="1" i="0" u="sng" strike="noStrike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952" marR="3952" marT="3952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18766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дзаголовок 1"/>
          <p:cNvSpPr txBox="1">
            <a:spLocks/>
          </p:cNvSpPr>
          <p:nvPr/>
        </p:nvSpPr>
        <p:spPr>
          <a:xfrm>
            <a:off x="454807" y="260648"/>
            <a:ext cx="8208912" cy="144016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22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9728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89888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664208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965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860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587752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" indent="0" algn="ctr">
              <a:buNone/>
            </a:pPr>
            <a:endParaRPr lang="ru-RU" sz="2800" b="1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6933273"/>
              </p:ext>
            </p:extLst>
          </p:nvPr>
        </p:nvGraphicFramePr>
        <p:xfrm>
          <a:off x="253209" y="116632"/>
          <a:ext cx="8612107" cy="571819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52039"/>
                <a:gridCol w="2136957"/>
                <a:gridCol w="452039"/>
                <a:gridCol w="451508"/>
                <a:gridCol w="451508"/>
                <a:gridCol w="376611"/>
                <a:gridCol w="376611"/>
                <a:gridCol w="376611"/>
                <a:gridCol w="376611"/>
                <a:gridCol w="376611"/>
                <a:gridCol w="376611"/>
                <a:gridCol w="452039"/>
                <a:gridCol w="452039"/>
                <a:gridCol w="376078"/>
                <a:gridCol w="376078"/>
                <a:gridCol w="376078"/>
                <a:gridCol w="376078"/>
              </a:tblGrid>
              <a:tr h="169409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и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 rowSpan="2"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енность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аботников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учено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940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го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ководители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сты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е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940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6 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 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 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6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6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6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6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</a:tr>
              <a:tr h="21185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КЦИОНЕРНОЕ ОБЩЕСТВО «СТРОИТЕЛЬНОЕ УПРАВЛЕНИЕ СЕВЕР»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9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</a:tr>
              <a:tr h="33881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дминистрация муниципального образования поселок Боровский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</a:tr>
              <a:tr h="33881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КРЫТОЕ АКЦИОНЕРНОЕ ОБЩЕСТВО «ПЫШМААВТОДОР»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</a:tr>
              <a:tr h="16940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П Молчанов Юрий Александрович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</a:t>
                      </a:r>
                      <a:endParaRPr lang="ru-RU" sz="10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</a:tr>
              <a:tr h="106448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ДО учреждение Тюменского Муниципального района Боровский детский сад «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Журавушка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 общеобразовательного вида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приоритетным осуществлением деятельности по познавательно - речевому направлению развития детей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3</a:t>
                      </a:r>
                      <a:endParaRPr lang="ru-RU" sz="100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7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</a:tr>
              <a:tr h="33881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ОУ  Боровская СОШ Тюменского муниципального района</a:t>
                      </a:r>
                      <a:endParaRPr lang="ru-RU" sz="9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3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6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</a:tr>
              <a:tr h="84704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ниципальное автономное образовательное учреждение дополнительного образования детей детско-юношеская спортивная школа Тюменского муниципального района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</a:tr>
              <a:tr h="29928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ниципальное автономное учреждение «Спортивный клуб «Боровский»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</a:tr>
              <a:tr h="644524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highlight>
                            <a:srgbClr val="FFFF00"/>
                          </a:highlight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ниципальное автономное учреждение культуры «Централизованная библиотечная система Тюменского муниципального района»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4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</a:tr>
              <a:tr h="16940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ОО «Молочный завод «Абсолют»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</a:tr>
              <a:tr h="16940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ОО «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ехноСпецСтрой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42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1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3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7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5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</a:tr>
              <a:tr h="16940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ОО «Тюмень 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копродукт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</a:tr>
              <a:tr h="16940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ОО «</a:t>
                      </a:r>
                      <a:r>
                        <a:rPr lang="ru-RU" sz="900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псибпитсервис</a:t>
                      </a:r>
                      <a:r>
                        <a:rPr lang="ru-RU" sz="9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»</a:t>
                      </a:r>
                      <a:endParaRPr lang="ru-RU" sz="9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33410" marR="3341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37336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дзаголовок 1"/>
          <p:cNvSpPr txBox="1">
            <a:spLocks/>
          </p:cNvSpPr>
          <p:nvPr/>
        </p:nvSpPr>
        <p:spPr>
          <a:xfrm>
            <a:off x="454807" y="260648"/>
            <a:ext cx="8208912" cy="144016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22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9728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89888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664208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965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860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587752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" indent="0" algn="ctr">
              <a:buNone/>
            </a:pPr>
            <a:endParaRPr lang="ru-RU" sz="2800" b="1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25229082"/>
              </p:ext>
            </p:extLst>
          </p:nvPr>
        </p:nvGraphicFramePr>
        <p:xfrm>
          <a:off x="238783" y="476672"/>
          <a:ext cx="8640960" cy="556583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53553"/>
                <a:gridCol w="2144118"/>
                <a:gridCol w="453553"/>
                <a:gridCol w="453021"/>
                <a:gridCol w="453021"/>
                <a:gridCol w="377872"/>
                <a:gridCol w="377872"/>
                <a:gridCol w="377872"/>
                <a:gridCol w="377872"/>
                <a:gridCol w="377872"/>
                <a:gridCol w="377872"/>
                <a:gridCol w="453553"/>
                <a:gridCol w="453553"/>
                <a:gridCol w="377339"/>
                <a:gridCol w="377339"/>
                <a:gridCol w="377339"/>
                <a:gridCol w="377339"/>
              </a:tblGrid>
              <a:tr h="177363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организации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 rowSpan="2"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енность работников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учено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267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го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ководители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сты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е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255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6 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 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 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6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6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6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6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</a:tr>
              <a:tr h="23149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ОО ПКТИ «ПРОМТЕХПРОЕКТ»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</a:tr>
              <a:tr h="17736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ОО ТПК «КООППРОМ» 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4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</a:tr>
              <a:tr h="6920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ство с ограниченной ответственностью «Западно-Сибирский Завод Блочного Технологического Оборудования»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4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</a:tr>
              <a:tr h="3701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ство с ограниченной ответственностью «ЭвиС»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</a:tr>
              <a:tr h="2005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АО «Птицефабрика Боровская»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98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71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</a:tr>
              <a:tr h="3701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юменский филиал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ОО «ПРОМБИЗНЕС +»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</a:tr>
              <a:tr h="34991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дивидуальный предприниматель Речкалов Максим Григорьевич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</a:tr>
              <a:tr h="72008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603885" algn="l"/>
                        </a:tabLs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униципальное унитарное предприятие «Жилищно-коммунальное хозяйство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603885" algn="l"/>
                        </a:tabLs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. Боровский»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6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</a:tr>
              <a:tr h="36004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603885" algn="l"/>
                        </a:tabLs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ОО «Тюменский областной коневодческий союз»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</a:tr>
              <a:tr h="17736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603885" algn="l"/>
                        </a:tabLs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ОО ПФ «Промхолод»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</a:tr>
              <a:tr h="182677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603885" algn="l"/>
                          <a:tab pos="802005" algn="l"/>
                        </a:tabLs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П Земерова Ольга Вадимовна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</a:tr>
              <a:tr h="3701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603885" algn="l"/>
                          <a:tab pos="802005" algn="l"/>
                          <a:tab pos="983615" algn="l"/>
                          <a:tab pos="1026795" algn="l"/>
                        </a:tabLs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АУ ДО Боровская ДШИ «Фантазия»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6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</a:tr>
              <a:tr h="17736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603885" algn="l"/>
                          <a:tab pos="802005" algn="l"/>
                          <a:tab pos="983615" algn="l"/>
                          <a:tab pos="1026795" algn="l"/>
                        </a:tabLs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ОО «Ландис»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1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1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3933" marR="43933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665508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дзаголовок 1"/>
          <p:cNvSpPr txBox="1">
            <a:spLocks/>
          </p:cNvSpPr>
          <p:nvPr/>
        </p:nvSpPr>
        <p:spPr>
          <a:xfrm>
            <a:off x="454807" y="260648"/>
            <a:ext cx="8208912" cy="144016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22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9728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89888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664208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965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860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587752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" indent="0" algn="ctr">
              <a:buNone/>
            </a:pPr>
            <a:endParaRPr lang="ru-RU" sz="2800" b="1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87937051"/>
              </p:ext>
            </p:extLst>
          </p:nvPr>
        </p:nvGraphicFramePr>
        <p:xfrm>
          <a:off x="251518" y="260648"/>
          <a:ext cx="8640963" cy="211839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61611"/>
                <a:gridCol w="2028699"/>
                <a:gridCol w="461611"/>
                <a:gridCol w="461068"/>
                <a:gridCol w="461068"/>
                <a:gridCol w="384586"/>
                <a:gridCol w="384586"/>
                <a:gridCol w="384586"/>
                <a:gridCol w="384586"/>
                <a:gridCol w="384586"/>
                <a:gridCol w="384586"/>
                <a:gridCol w="461611"/>
                <a:gridCol w="461611"/>
                <a:gridCol w="384042"/>
                <a:gridCol w="384042"/>
                <a:gridCol w="384042"/>
                <a:gridCol w="384042"/>
              </a:tblGrid>
              <a:tr h="191817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  <a:endParaRPr lang="ru-RU" sz="105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</a:t>
                      </a:r>
                      <a:r>
                        <a:rPr lang="ru-RU" sz="105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ганизации</a:t>
                      </a:r>
                      <a:endParaRPr lang="ru-RU" sz="105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 rowSpan="2"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 smtClean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енность работников</a:t>
                      </a:r>
                      <a:endParaRPr lang="ru-RU" sz="1050" dirty="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1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учено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822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го</a:t>
                      </a:r>
                      <a:endParaRPr lang="ru-RU" sz="105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ководители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сты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е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473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6  </a:t>
                      </a:r>
                      <a:endParaRPr lang="ru-RU" sz="105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 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 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6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</a:t>
                      </a:r>
                      <a:endParaRPr lang="ru-RU" sz="105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6</a:t>
                      </a:r>
                      <a:endParaRPr lang="ru-RU" sz="105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6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6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7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8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</a:tr>
              <a:tr h="2515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ство с ограниченной ответственностью «Сапфир» 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</a:tr>
              <a:tr h="12577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ОО «КООППРОМ»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0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0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5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5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05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</a:tr>
              <a:tr h="12577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ОО «Запсибпитсервис»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</a:tr>
              <a:tr h="2515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ство с ограниченной ответственностью «Лика» 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</a:tr>
              <a:tr h="251558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603885" algn="l"/>
                          <a:tab pos="802005" algn="l"/>
                          <a:tab pos="983615" algn="l"/>
                          <a:tab pos="1026795" algn="l"/>
                        </a:tabLs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ество с ограниченной ответственностью «Стальмонтаж»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0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solidFill>
                          <a:srgbClr val="FF0000"/>
                        </a:solidFill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  <a:endParaRPr lang="ru-RU" sz="105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05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05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44743" marR="44743" marT="0" marB="0"/>
                </a:tc>
              </a:tr>
            </a:tbl>
          </a:graphicData>
        </a:graphic>
      </p:graphicFrame>
      <p:sp>
        <p:nvSpPr>
          <p:cNvPr id="3" name="Прямоугольник с двумя скругленными противолежащими углами 2"/>
          <p:cNvSpPr/>
          <p:nvPr/>
        </p:nvSpPr>
        <p:spPr>
          <a:xfrm>
            <a:off x="611560" y="3429000"/>
            <a:ext cx="8208912" cy="2952328"/>
          </a:xfrm>
          <a:prstGeom prst="round2Diag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342900" indent="-342900" algn="ctr">
              <a:buAutoNum type="arabicPeriod"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ключены организации и индивидуальные предприниматели, </a:t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уже не осуществляющие свою деятельность (ликвидированные).</a:t>
            </a:r>
          </a:p>
          <a:p>
            <a:pPr marL="342900" indent="-342900" algn="ctr">
              <a:buAutoNum type="arabicPeriod"/>
            </a:pPr>
            <a:endPara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ctr">
              <a:buAutoNum type="arabicPeriod"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ключены организации и индивидуальные предприниматели, </a:t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 зарегистрированные на территории муниципального образования.</a:t>
            </a:r>
          </a:p>
          <a:p>
            <a:pPr algn="ctr"/>
            <a:endPara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ctr">
              <a:buAutoNum type="arabicPeriod"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ключены организации, наименование которых изменено после реорганизации.</a:t>
            </a:r>
            <a:endPara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ctr">
              <a:buAutoNum type="arabicPeriod"/>
            </a:pP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Равнобедренный треугольник 3"/>
          <p:cNvSpPr/>
          <p:nvPr/>
        </p:nvSpPr>
        <p:spPr>
          <a:xfrm>
            <a:off x="5796136" y="2323728"/>
            <a:ext cx="2428856" cy="1249288"/>
          </a:xfrm>
          <a:prstGeom prst="triangl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ричины</a:t>
            </a:r>
            <a:endParaRPr lang="ru-RU" dirty="0"/>
          </a:p>
        </p:txBody>
      </p:sp>
      <p:sp>
        <p:nvSpPr>
          <p:cNvPr id="5" name="Овал 4"/>
          <p:cNvSpPr/>
          <p:nvPr/>
        </p:nvSpPr>
        <p:spPr>
          <a:xfrm>
            <a:off x="611560" y="2395736"/>
            <a:ext cx="3528392" cy="132129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снижение результата  показателя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59730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дзаголовок 1"/>
          <p:cNvSpPr txBox="1">
            <a:spLocks/>
          </p:cNvSpPr>
          <p:nvPr/>
        </p:nvSpPr>
        <p:spPr>
          <a:xfrm>
            <a:off x="454807" y="260648"/>
            <a:ext cx="8208912" cy="144016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22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9728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89888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664208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965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860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587752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" indent="0" algn="ctr">
              <a:buNone/>
            </a:pPr>
            <a:endParaRPr lang="ru-RU" sz="2800" b="1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с двумя скругленными противолежащими углами 3"/>
          <p:cNvSpPr/>
          <p:nvPr/>
        </p:nvSpPr>
        <p:spPr>
          <a:xfrm>
            <a:off x="611560" y="1509936"/>
            <a:ext cx="8208912" cy="4511352"/>
          </a:xfrm>
          <a:prstGeom prst="round2Diag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342900" indent="-342900" algn="ctr">
              <a:buAutoNum type="arabicPeriod"/>
            </a:pP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ctr">
              <a:buAutoNum type="arabicPeriod"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ctr">
              <a:buAutoNum type="arabicPeriod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 отчет о количестве обученных с «0» результатом показателя.</a:t>
            </a:r>
          </a:p>
          <a:p>
            <a:pPr marL="342900" indent="-342900" algn="ctr">
              <a:buAutoNum type="arabicPeriod"/>
            </a:pP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ctr">
              <a:buAutoNum type="arabicPeriod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бучены не всех категории работников, подлежащих обучению в обучающих центрах (то есть обучены либо только руководитель, либо специалисты по охране труда, либо специалисты, связанные производством).</a:t>
            </a:r>
          </a:p>
          <a:p>
            <a:pPr marL="342900" indent="-342900" algn="ctr">
              <a:buAutoNum type="arabicPeriod"/>
            </a:pP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ctr">
              <a:buAutoNum type="arabicPeriod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е соблюден принцип обучения: 3 специалиста в организации и 1 человек у индивидуального предпринимателя.</a:t>
            </a:r>
          </a:p>
          <a:p>
            <a:pPr marL="342900" indent="-342900" algn="ctr">
              <a:buAutoNum type="arabicPeriod"/>
            </a:pPr>
            <a:endParaRPr lang="ru-RU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ctr">
              <a:buAutoNum type="arabicPeriod"/>
            </a:pP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чет о количестве обученных в обучающих центрах не направлен.</a:t>
            </a:r>
          </a:p>
          <a:p>
            <a:pPr marL="342900" indent="-342900" algn="ctr">
              <a:buAutoNum type="arabicPeriod"/>
            </a:pPr>
            <a:endPara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ctr">
              <a:buAutoNum type="arabicPeriod"/>
            </a:pPr>
            <a:endParaRPr lang="ru-RU" sz="1600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342900" indent="-342900" algn="ctr">
              <a:buAutoNum type="arabicPeriod"/>
            </a:pP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Овал 4"/>
          <p:cNvSpPr/>
          <p:nvPr/>
        </p:nvSpPr>
        <p:spPr>
          <a:xfrm>
            <a:off x="323528" y="188640"/>
            <a:ext cx="3528392" cy="158417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снижение результата  показателя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" name="Равнобедренный треугольник 2"/>
          <p:cNvSpPr/>
          <p:nvPr/>
        </p:nvSpPr>
        <p:spPr>
          <a:xfrm>
            <a:off x="5508104" y="392088"/>
            <a:ext cx="2428856" cy="1380728"/>
          </a:xfrm>
          <a:prstGeom prst="triangl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ричины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61572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/>
          <p:cNvSpPr/>
          <p:nvPr/>
        </p:nvSpPr>
        <p:spPr>
          <a:xfrm>
            <a:off x="325992" y="213507"/>
            <a:ext cx="4678056" cy="695213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</a:t>
            </a:r>
            <a:r>
              <a:rPr lang="ru-RU" sz="20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изводственного травматизма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651275" y="1052736"/>
            <a:ext cx="6534937" cy="1008112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исленность пострадавших за 2018 год - 34 человека, </a:t>
            </a:r>
            <a:endParaRPr lang="ru-RU" b="1" i="1" dirty="0" smtClean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ом числе 3 пострадавших с тяжёлым исходом </a:t>
            </a:r>
            <a:endParaRPr lang="ru-RU" b="1" i="1" dirty="0" smtClean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пострадавших </a:t>
            </a:r>
            <a:r>
              <a:rPr lang="ru-RU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 </a:t>
            </a:r>
            <a:r>
              <a:rPr lang="ru-RU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мертельным исходом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115616" y="2204864"/>
            <a:ext cx="6797477" cy="1080120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производственного травматизма за 2018 год </a:t>
            </a:r>
            <a:endParaRPr lang="ru-RU" b="1" i="1" dirty="0" smtClean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</a:t>
            </a:r>
            <a:r>
              <a:rPr lang="ru-RU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равнению с 2017 годом повысился на 0,24 и составил 1,24 </a:t>
            </a:r>
            <a:endParaRPr lang="ru-RU" b="1" i="1" dirty="0" smtClean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ru-RU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00 человек работающих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907704" y="3429000"/>
            <a:ext cx="6912768" cy="3024336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данным Департамента труда и занятости Тюменской области несчастные случаи </a:t>
            </a:r>
            <a:r>
              <a:rPr lang="ru-RU" sz="1600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территории </a:t>
            </a:r>
            <a:r>
              <a:rPr lang="ru-RU" sz="1600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иципального образования </a:t>
            </a:r>
          </a:p>
          <a:p>
            <a:pPr algn="ctr"/>
            <a:r>
              <a:rPr lang="ru-RU" sz="1600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. Боровский зафиксированы:</a:t>
            </a:r>
          </a:p>
          <a:p>
            <a:pPr marL="285750" indent="-285750" algn="just">
              <a:buFontTx/>
              <a:buChar char="-"/>
            </a:pPr>
            <a:r>
              <a:rPr lang="ru-RU" sz="1600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ОО «ТЕХНОСПЕЦСТРОЙ» - 7 несчастных случаев (2 из них </a:t>
            </a:r>
            <a:br>
              <a:rPr lang="ru-RU" sz="1600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 тяжелым исходом);</a:t>
            </a:r>
          </a:p>
          <a:p>
            <a:pPr marL="285750" indent="-285750" algn="just">
              <a:buFontTx/>
              <a:buChar char="-"/>
            </a:pPr>
            <a:r>
              <a:rPr lang="ru-RU" sz="1600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ОО «ТПК «КООПРОМ» - 2 несчастных случая;</a:t>
            </a:r>
          </a:p>
          <a:p>
            <a:pPr marL="285750" indent="-285750" algn="just">
              <a:buFontTx/>
              <a:buChar char="-"/>
            </a:pPr>
            <a:r>
              <a:rPr lang="ru-RU" sz="1600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О «ПТИЦЕФАБРИКА «БОРОВСКАЯ» - 2 несчастных случая;</a:t>
            </a:r>
          </a:p>
          <a:p>
            <a:pPr marL="285750" indent="-285750" algn="just">
              <a:buFontTx/>
              <a:buChar char="-"/>
            </a:pPr>
            <a:r>
              <a:rPr lang="ru-RU" sz="1600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ОО «ЗАПАДНО-СИБИРСКИЙ ЗАВОД БЛОЧНОГО  ТЕХНОЛОГИЧЕСКОГО ОБОРУДОВАНИЯ» - 1 несчастный случай.</a:t>
            </a:r>
            <a:r>
              <a:rPr lang="ru-RU" sz="1600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3972032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611560" y="476672"/>
            <a:ext cx="8136904" cy="2677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8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 состоянию на </a:t>
            </a:r>
            <a:r>
              <a:rPr lang="ru-RU" sz="2800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01.04.2019 </a:t>
            </a:r>
            <a:r>
              <a:rPr lang="ru-RU" sz="28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да в Тюменском муниципальном районе:</a:t>
            </a:r>
          </a:p>
          <a:p>
            <a:pPr algn="ctr"/>
            <a:r>
              <a:rPr lang="ru-RU" sz="2800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28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ля рабочих мест, на которых проведена специальная оценка условий труда от общего количества, подлежащих специальной оценке  - </a:t>
            </a:r>
            <a:r>
              <a:rPr lang="ru-RU" sz="2800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0%</a:t>
            </a:r>
            <a:endParaRPr lang="ru-RU" sz="2800" b="1" i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2686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520059"/>
              </p:ext>
            </p:extLst>
          </p:nvPr>
        </p:nvGraphicFramePr>
        <p:xfrm>
          <a:off x="251517" y="188640"/>
          <a:ext cx="8640962" cy="6339349"/>
        </p:xfrm>
        <a:graphic>
          <a:graphicData uri="http://schemas.openxmlformats.org/drawingml/2006/table">
            <a:tbl>
              <a:tblPr/>
              <a:tblGrid>
                <a:gridCol w="461781"/>
                <a:gridCol w="906136"/>
                <a:gridCol w="461781"/>
                <a:gridCol w="385543"/>
                <a:gridCol w="392078"/>
                <a:gridCol w="392078"/>
                <a:gridCol w="383365"/>
                <a:gridCol w="385543"/>
                <a:gridCol w="383365"/>
                <a:gridCol w="385543"/>
                <a:gridCol w="392078"/>
                <a:gridCol w="392078"/>
                <a:gridCol w="418216"/>
                <a:gridCol w="418216"/>
                <a:gridCol w="557623"/>
                <a:gridCol w="653463"/>
                <a:gridCol w="618612"/>
                <a:gridCol w="653463"/>
              </a:tblGrid>
              <a:tr h="136721">
                <a:tc gridSpan="18">
                  <a:txBody>
                    <a:bodyPr/>
                    <a:lstStyle/>
                    <a:p>
                      <a:pPr algn="ctr" fontAlgn="ctr"/>
                      <a:r>
                        <a:rPr lang="ru-RU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формация о количестве рабочих мест, на которых проведена оценка условий труда в муниципальных образованиях </a:t>
                      </a:r>
                      <a:endParaRPr lang="ru-RU" sz="1200" b="1" i="1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 fontAlgn="ctr"/>
                      <a:r>
                        <a:rPr lang="ru-RU" sz="12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</a:t>
                      </a:r>
                      <a:r>
                        <a:rPr lang="ru-RU" sz="1200" b="1" i="1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1.04.2019 г.</a:t>
                      </a:r>
                    </a:p>
                  </a:txBody>
                  <a:tcPr marL="3650" marR="3650" marT="365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51311"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</a:t>
                      </a:r>
                      <a:r>
                        <a:rPr lang="ru-RU" sz="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п</a:t>
                      </a:r>
                      <a:endParaRPr lang="ru-RU" sz="7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род, район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12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а оценка условий труда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а оценка условий труда, всего 2 кв. 2014 – 1 кв. 2019 г.г.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енность работников по данным ФСС на 01.01.2019 г.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чество рабочих мест, подлежащих специальной оценке условий труда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ля рабочих мест, на которых проведена оценка условий труда от общего количества подлежащих спец. оценке, %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2008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УТ 2014 г. (2, 3, 4 квартал)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кларация 2014 г.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УТ 2015 г.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кларация 2015 г.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УТ 2016 г.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кларация 2016 г.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УТ 2017 г.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кларация 2017 г.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УТ 2018 г.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кларация 2018 г.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УТ   1 кв. 2019 г.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кларация 2019 г.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6024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юменская область (без автономных округов)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83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898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966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993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127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73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143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003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669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6,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7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ердюжский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7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9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1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8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8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7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рковский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5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6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2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4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5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0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5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7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утинский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9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7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3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6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7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 Ишим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7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4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8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6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2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9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8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1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28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54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78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7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сетский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2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0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0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8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5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7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поровский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8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1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2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2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35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7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обольский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7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5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8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7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шимский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6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4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4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9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0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6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7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ватский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7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3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31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67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3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7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 Тобольск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1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8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30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7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42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1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5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2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65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39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66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7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агайский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7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6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8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2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7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батский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2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3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2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7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икуловский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3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2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3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6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7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1" u="sng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1" i="1" u="sng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юменский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1" u="sng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3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1" u="sng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1" u="sng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8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1" u="sng" strike="noStrike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1" u="sng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9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1" u="sng" strike="noStrike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1" u="sng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69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1" u="sng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1" u="sng" strike="noStrike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26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1" u="sng" strike="noStrike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6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1" u="sng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1" u="sng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0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1" u="sng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53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1" u="sng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44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1" u="sng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87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1" i="1" u="sng" strike="noStrike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7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ромашевский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0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3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2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0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7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Ялуторовский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6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2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5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9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0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87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водоуковский</a:t>
                      </a:r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городской округ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4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8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1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5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0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8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1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01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17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,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756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ижнетавдинский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8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1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1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18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90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5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8,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448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олышмановский городской округ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7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2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3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4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15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2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6,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7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азанский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6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8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01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89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4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2,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7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 Тюмень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98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34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7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79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78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384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04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542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39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14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50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084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4202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501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1,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7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орокинский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6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2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6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8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8,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7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Юргинский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7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4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1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34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95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8,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7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 Ялуторовск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8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4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4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9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9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4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52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82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51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4,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7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ладковский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5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2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1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1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4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3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9,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3672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9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Армизонский</a:t>
                      </a:r>
                      <a:endParaRPr lang="ru-RU" sz="900" b="0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2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9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0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8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11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47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39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50" b="0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8,4</a:t>
                      </a:r>
                    </a:p>
                  </a:txBody>
                  <a:tcPr marL="3650" marR="3650" marT="365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197321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99592" y="1556792"/>
            <a:ext cx="7416824" cy="1143000"/>
          </a:xfrm>
        </p:spPr>
        <p:txBody>
          <a:bodyPr/>
          <a:lstStyle/>
          <a:p>
            <a:pPr marL="0" indent="0" algn="ctr">
              <a:buNone/>
            </a:pPr>
            <a:r>
              <a:rPr lang="ru-RU" sz="5400" dirty="0" smtClean="0"/>
              <a:t>Спасибо за внимание</a:t>
            </a:r>
            <a:endParaRPr lang="ru-RU" sz="5400" dirty="0"/>
          </a:p>
        </p:txBody>
      </p:sp>
    </p:spTree>
    <p:extLst>
      <p:ext uri="{BB962C8B-B14F-4D97-AF65-F5344CB8AC3E}">
        <p14:creationId xmlns:p14="http://schemas.microsoft.com/office/powerpoint/2010/main" val="4422601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дзаголовок 1"/>
          <p:cNvSpPr txBox="1">
            <a:spLocks/>
          </p:cNvSpPr>
          <p:nvPr/>
        </p:nvSpPr>
        <p:spPr>
          <a:xfrm>
            <a:off x="454807" y="260648"/>
            <a:ext cx="8208912" cy="144016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22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9728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89888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664208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965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860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587752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" indent="0" algn="ctr">
              <a:buNone/>
            </a:pPr>
            <a:endParaRPr lang="ru-RU" sz="2800" b="1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1763688" y="980728"/>
            <a:ext cx="6146154" cy="2880320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i="1" u="sng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стема управления охраной труда</a:t>
            </a:r>
            <a:r>
              <a:rPr lang="ru-RU" sz="24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- </a:t>
            </a: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мплекс взаимосвязанных </a:t>
            </a:r>
            <a:endParaRPr lang="ru-RU" sz="2400" b="1" dirty="0" smtClean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заимодействующих между собой элементов, устанавливающих политику и цели в области охраны труда </a:t>
            </a:r>
            <a:endParaRPr lang="ru-RU" sz="2400" b="1" dirty="0" smtClean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 </a:t>
            </a: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нкретного работодателя </a:t>
            </a:r>
            <a:endParaRPr lang="ru-RU" sz="2400" b="1" dirty="0" smtClean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2400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цедуры по достижению этих целей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323528" y="274660"/>
            <a:ext cx="2808312" cy="821086"/>
          </a:xfrm>
          <a:prstGeom prst="roundRect">
            <a:avLst/>
          </a:prstGeom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тья 209 ТК РФ</a:t>
            </a:r>
            <a:endParaRPr lang="ru-RU" sz="2400" b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915816" y="3717032"/>
            <a:ext cx="5556461" cy="1080120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2000" dirty="0" smtClean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каз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труда России от 19.08.2016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38н</a:t>
            </a:r>
          </a:p>
          <a:p>
            <a:pPr algn="ctr"/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Об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ении Типового положения </a:t>
            </a:r>
            <a:endParaRPr lang="ru-RU" sz="2000" dirty="0" smtClean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 </a:t>
            </a:r>
            <a:r>
              <a:rPr lang="ru-RU" sz="2000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стеме управления охраной </a:t>
            </a:r>
            <a:r>
              <a:rPr lang="ru-RU" sz="2000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руда»</a:t>
            </a:r>
            <a:endParaRPr lang="ru-RU" sz="2000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2400" b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611560" y="4769106"/>
            <a:ext cx="6840760" cy="1800200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дать вопрос о порядке создания системы управления охраной труда и (или) запросить информационные материалы можно получить, направив заявку по адресу электронной почты: 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ku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_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uozh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@</a:t>
            </a:r>
            <a:r>
              <a:rPr lang="ru-RU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ambler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r>
              <a:rPr lang="en-US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ru</a:t>
            </a:r>
            <a:r>
              <a:rPr lang="ru-RU" b="1" dirty="0" smtClean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ctr"/>
            <a:r>
              <a:rPr lang="ru-RU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телефонам: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88-765</a:t>
            </a:r>
            <a:r>
              <a:rPr lang="ru-RU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288-884, </a:t>
            </a:r>
            <a:r>
              <a:rPr lang="ru-RU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88-753</a:t>
            </a:r>
            <a:endParaRPr lang="ru-RU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Стрелка вниз 10"/>
          <p:cNvSpPr/>
          <p:nvPr/>
        </p:nvSpPr>
        <p:spPr>
          <a:xfrm>
            <a:off x="1700172" y="980728"/>
            <a:ext cx="484632" cy="48920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Стрелка вниз 11"/>
          <p:cNvSpPr/>
          <p:nvPr/>
        </p:nvSpPr>
        <p:spPr>
          <a:xfrm>
            <a:off x="7667526" y="3241840"/>
            <a:ext cx="484632" cy="48920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трелка вниз 12"/>
          <p:cNvSpPr/>
          <p:nvPr/>
        </p:nvSpPr>
        <p:spPr>
          <a:xfrm>
            <a:off x="2723806" y="4437112"/>
            <a:ext cx="484632" cy="48920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429079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дзаголовок 1"/>
          <p:cNvSpPr txBox="1">
            <a:spLocks/>
          </p:cNvSpPr>
          <p:nvPr/>
        </p:nvSpPr>
        <p:spPr>
          <a:xfrm>
            <a:off x="454807" y="260648"/>
            <a:ext cx="8208912" cy="144016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22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9728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89888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664208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965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860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587752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" indent="0" algn="ctr">
              <a:buNone/>
            </a:pPr>
            <a:endParaRPr lang="ru-RU" sz="2800" b="1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611560" y="655997"/>
            <a:ext cx="8280920" cy="1792718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b="1" i="1" dirty="0" smtClean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программа </a:t>
            </a:r>
            <a:r>
              <a:rPr lang="ru-RU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«Улучшение условий </a:t>
            </a:r>
            <a:r>
              <a:rPr lang="ru-RU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храны труда» государственной программы Тюменской области «Содействие занятости населения </a:t>
            </a:r>
            <a:endParaRPr lang="ru-RU" b="1" i="1" dirty="0" smtClean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гулирование трудовых и иных непосредственно связанных с ними отношений</a:t>
            </a:r>
            <a:r>
              <a:rPr lang="ru-RU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», утвержденная постановлением </a:t>
            </a:r>
            <a:r>
              <a:rPr lang="ru-RU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ительства Тюменской области от 14.12.2018 </a:t>
            </a:r>
            <a:r>
              <a:rPr lang="ru-RU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</a:t>
            </a:r>
            <a:r>
              <a:rPr lang="ru-RU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498-п</a:t>
            </a:r>
          </a:p>
          <a:p>
            <a:pPr algn="ctr"/>
            <a:endParaRPr lang="ru-RU" sz="2000" b="1" i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359532" y="274660"/>
            <a:ext cx="7164796" cy="410543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900" b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партамент труда и занятости населения Тюменской области</a:t>
            </a:r>
            <a:endParaRPr lang="ru-RU" sz="1900" b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482470" y="2397859"/>
            <a:ext cx="6905954" cy="540060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ниторинг, анализ показателей подпрограммы</a:t>
            </a:r>
            <a:endParaRPr lang="ru-RU" sz="2400" b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611560" y="3284984"/>
            <a:ext cx="2862318" cy="2880320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ля обученных по охране труда, от подлежащих обучению в учебных центрах</a:t>
            </a:r>
            <a:endParaRPr lang="ru-RU" sz="2400" i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i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Стрелка вниз 10"/>
          <p:cNvSpPr/>
          <p:nvPr/>
        </p:nvSpPr>
        <p:spPr>
          <a:xfrm>
            <a:off x="611560" y="661608"/>
            <a:ext cx="484632" cy="48920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Стрелка вниз 11"/>
          <p:cNvSpPr/>
          <p:nvPr/>
        </p:nvSpPr>
        <p:spPr>
          <a:xfrm>
            <a:off x="7982668" y="2135686"/>
            <a:ext cx="484632" cy="47387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трелка вниз 12"/>
          <p:cNvSpPr/>
          <p:nvPr/>
        </p:nvSpPr>
        <p:spPr>
          <a:xfrm>
            <a:off x="1763688" y="2902741"/>
            <a:ext cx="484632" cy="48920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3707904" y="3356713"/>
            <a:ext cx="2002669" cy="1872208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равматизма</a:t>
            </a:r>
            <a:endParaRPr lang="ru-RU" sz="2400" i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5868144" y="3308152"/>
            <a:ext cx="3024336" cy="3361207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ля рабочих мест, на которых проведена специальная оценка условий труда, от общего количества подлежащих специальной оценке</a:t>
            </a:r>
            <a:endParaRPr lang="ru-RU" sz="2300" i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Стрелка вниз 16"/>
          <p:cNvSpPr/>
          <p:nvPr/>
        </p:nvSpPr>
        <p:spPr>
          <a:xfrm>
            <a:off x="4450815" y="2902741"/>
            <a:ext cx="484632" cy="48920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трелка вниз 17"/>
          <p:cNvSpPr/>
          <p:nvPr/>
        </p:nvSpPr>
        <p:spPr>
          <a:xfrm>
            <a:off x="7740352" y="2889410"/>
            <a:ext cx="484632" cy="48920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1967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дзаголовок 1"/>
          <p:cNvSpPr txBox="1">
            <a:spLocks/>
          </p:cNvSpPr>
          <p:nvPr/>
        </p:nvSpPr>
        <p:spPr>
          <a:xfrm>
            <a:off x="454807" y="260648"/>
            <a:ext cx="8208912" cy="144016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22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9728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89888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664208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965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860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587752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" indent="0" algn="ctr">
              <a:buNone/>
            </a:pPr>
            <a:endParaRPr lang="ru-RU" sz="2800" b="1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611560" y="655997"/>
            <a:ext cx="7298282" cy="1792718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становление </a:t>
            </a:r>
            <a:r>
              <a:rPr lang="ru-RU" sz="24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ительства Тюменской области от 15.08.2012 № 304-п «О мониторинге условий и охраны труда в Тюменской области»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359532" y="274660"/>
            <a:ext cx="7236804" cy="410543"/>
          </a:xfrm>
          <a:prstGeom prst="roundRect">
            <a:avLst/>
          </a:prstGeom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900" b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Центр занятости населения г. Тюмени и Тюменского района</a:t>
            </a:r>
            <a:endParaRPr lang="ru-RU" sz="1900" b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482470" y="2397859"/>
            <a:ext cx="6905954" cy="540060"/>
          </a:xfrm>
          <a:prstGeom prst="round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b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ниторинг, анализ показателей подпрограммы</a:t>
            </a:r>
            <a:endParaRPr lang="ru-RU" sz="2400" b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611560" y="3284984"/>
            <a:ext cx="2862318" cy="2880320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ля обученных по охране труда, от подлежащих обучению в учебных центрах</a:t>
            </a:r>
            <a:endParaRPr lang="ru-RU" sz="2400" i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i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Стрелка вниз 10"/>
          <p:cNvSpPr/>
          <p:nvPr/>
        </p:nvSpPr>
        <p:spPr>
          <a:xfrm>
            <a:off x="611560" y="661608"/>
            <a:ext cx="484632" cy="48920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Стрелка вниз 11"/>
          <p:cNvSpPr/>
          <p:nvPr/>
        </p:nvSpPr>
        <p:spPr>
          <a:xfrm>
            <a:off x="7423606" y="2044269"/>
            <a:ext cx="484632" cy="47387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Стрелка вниз 12"/>
          <p:cNvSpPr/>
          <p:nvPr/>
        </p:nvSpPr>
        <p:spPr>
          <a:xfrm>
            <a:off x="1763688" y="2902741"/>
            <a:ext cx="484632" cy="48920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3707904" y="3356713"/>
            <a:ext cx="2002669" cy="1872208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ровень </a:t>
            </a:r>
            <a:r>
              <a:rPr lang="ru-RU" sz="2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равматизма</a:t>
            </a:r>
            <a:endParaRPr lang="ru-RU" sz="2400" i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5868144" y="3308152"/>
            <a:ext cx="3024336" cy="3361207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3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ля рабочих мест, на которых проведена специальная оценка условий труда, от общего количества подлежащих специальной оценке</a:t>
            </a:r>
            <a:endParaRPr lang="ru-RU" sz="2300" i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7" name="Стрелка вниз 16"/>
          <p:cNvSpPr/>
          <p:nvPr/>
        </p:nvSpPr>
        <p:spPr>
          <a:xfrm>
            <a:off x="4450815" y="2902741"/>
            <a:ext cx="484632" cy="48920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трелка вниз 17"/>
          <p:cNvSpPr/>
          <p:nvPr/>
        </p:nvSpPr>
        <p:spPr>
          <a:xfrm>
            <a:off x="7740352" y="2889410"/>
            <a:ext cx="484632" cy="489204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62086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амка 3"/>
          <p:cNvSpPr/>
          <p:nvPr/>
        </p:nvSpPr>
        <p:spPr>
          <a:xfrm>
            <a:off x="2928147" y="1866811"/>
            <a:ext cx="2448272" cy="1889537"/>
          </a:xfrm>
          <a:prstGeom prst="fram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subTitle" idx="1"/>
          </p:nvPr>
        </p:nvSpPr>
        <p:spPr>
          <a:xfrm>
            <a:off x="1597244" y="116632"/>
            <a:ext cx="6503148" cy="882119"/>
          </a:xfrm>
        </p:spPr>
        <p:txBody>
          <a:bodyPr>
            <a:noAutofit/>
          </a:bodyPr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Обучение по охране труда</a:t>
            </a:r>
            <a:endParaRPr lang="ru-RU" sz="2800" b="1" dirty="0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11" name="Рамка 10"/>
          <p:cNvSpPr/>
          <p:nvPr/>
        </p:nvSpPr>
        <p:spPr>
          <a:xfrm>
            <a:off x="5344844" y="4739961"/>
            <a:ext cx="2448272" cy="1656184"/>
          </a:xfrm>
          <a:prstGeom prst="fram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3" name="Текст 6"/>
          <p:cNvSpPr txBox="1">
            <a:spLocks/>
          </p:cNvSpPr>
          <p:nvPr/>
        </p:nvSpPr>
        <p:spPr>
          <a:xfrm>
            <a:off x="5379699" y="5195446"/>
            <a:ext cx="2016224" cy="122413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18288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Georgia" pitchFamily="18" charset="0"/>
              <a:buNone/>
            </a:pP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14" name="Рамка 13"/>
          <p:cNvSpPr/>
          <p:nvPr/>
        </p:nvSpPr>
        <p:spPr>
          <a:xfrm>
            <a:off x="6090336" y="1583829"/>
            <a:ext cx="2874152" cy="1656184"/>
          </a:xfrm>
          <a:prstGeom prst="frame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5" name="Текст 6"/>
          <p:cNvSpPr txBox="1">
            <a:spLocks/>
          </p:cNvSpPr>
          <p:nvPr/>
        </p:nvSpPr>
        <p:spPr>
          <a:xfrm>
            <a:off x="3161399" y="2046831"/>
            <a:ext cx="2016224" cy="122413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18288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Georgia" pitchFamily="18" charset="0"/>
              <a:buNone/>
            </a:pPr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lang="ru-RU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оводители и специалисты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4999198" y="2888657"/>
            <a:ext cx="2396725" cy="914400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о</a:t>
            </a:r>
            <a:r>
              <a:rPr lang="ru-RU" dirty="0" smtClean="0"/>
              <a:t>бучающие центры</a:t>
            </a:r>
            <a:endParaRPr lang="ru-RU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5791722" y="5336071"/>
            <a:ext cx="151676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ru-RU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ники</a:t>
            </a:r>
            <a:endParaRPr lang="ru-RU" sz="2000" b="1" dirty="0">
              <a:solidFill>
                <a:prstClr val="black"/>
              </a:solidFill>
            </a:endParaRPr>
          </a:p>
        </p:txBody>
      </p:sp>
      <p:sp>
        <p:nvSpPr>
          <p:cNvPr id="22" name="Стрелка вправо 21"/>
          <p:cNvSpPr/>
          <p:nvPr/>
        </p:nvSpPr>
        <p:spPr>
          <a:xfrm>
            <a:off x="4677540" y="3240012"/>
            <a:ext cx="398516" cy="730849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/>
          <p:cNvSpPr/>
          <p:nvPr/>
        </p:nvSpPr>
        <p:spPr>
          <a:xfrm>
            <a:off x="4050591" y="557043"/>
            <a:ext cx="3146648" cy="166095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 smtClean="0"/>
              <a:t>локальный нормативный акт о создании комиссии и утверждении программы обучения</a:t>
            </a:r>
            <a:endParaRPr lang="ru-RU" sz="1600" b="1" dirty="0"/>
          </a:p>
        </p:txBody>
      </p:sp>
      <p:sp>
        <p:nvSpPr>
          <p:cNvPr id="23" name="Стрелка вправо 22"/>
          <p:cNvSpPr/>
          <p:nvPr/>
        </p:nvSpPr>
        <p:spPr>
          <a:xfrm>
            <a:off x="5940153" y="1878955"/>
            <a:ext cx="488178" cy="1112055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/>
          <p:cNvSpPr/>
          <p:nvPr/>
        </p:nvSpPr>
        <p:spPr>
          <a:xfrm>
            <a:off x="2928147" y="4351594"/>
            <a:ext cx="3146648" cy="1184532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 список работников для обучения комиссией</a:t>
            </a:r>
            <a:endParaRPr lang="ru-RU" dirty="0"/>
          </a:p>
        </p:txBody>
      </p:sp>
      <p:sp>
        <p:nvSpPr>
          <p:cNvPr id="20" name="Стрелка вниз 19"/>
          <p:cNvSpPr/>
          <p:nvPr/>
        </p:nvSpPr>
        <p:spPr>
          <a:xfrm>
            <a:off x="7308483" y="3140968"/>
            <a:ext cx="675417" cy="1659788"/>
          </a:xfrm>
          <a:prstGeom prst="down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/>
          <p:cNvSpPr/>
          <p:nvPr/>
        </p:nvSpPr>
        <p:spPr>
          <a:xfrm>
            <a:off x="2915603" y="5641307"/>
            <a:ext cx="3146648" cy="1184532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у</a:t>
            </a:r>
            <a:r>
              <a:rPr lang="ru-RU" dirty="0" smtClean="0"/>
              <a:t>достоверение о прохождении обучения</a:t>
            </a:r>
            <a:endParaRPr lang="ru-RU" dirty="0"/>
          </a:p>
        </p:txBody>
      </p:sp>
      <p:sp>
        <p:nvSpPr>
          <p:cNvPr id="29" name="Овал 28"/>
          <p:cNvSpPr/>
          <p:nvPr/>
        </p:nvSpPr>
        <p:spPr>
          <a:xfrm>
            <a:off x="7197239" y="5451074"/>
            <a:ext cx="1573324" cy="1184532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 раз в три года</a:t>
            </a:r>
            <a:endParaRPr lang="ru-RU" dirty="0"/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187362" y="656692"/>
            <a:ext cx="2664296" cy="1224136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</a:rPr>
              <a:t>Статья 225 Трудового кодекса РФ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85837" y="2096852"/>
            <a:ext cx="2765821" cy="4212468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950" b="1" dirty="0">
                <a:solidFill>
                  <a:schemeClr val="tx1"/>
                </a:solidFill>
              </a:rPr>
              <a:t>Постановление Минтруда России, Минобразования России от </a:t>
            </a:r>
            <a:r>
              <a:rPr lang="ru-RU" sz="1950" b="1" dirty="0" smtClean="0">
                <a:solidFill>
                  <a:schemeClr val="tx1"/>
                </a:solidFill>
              </a:rPr>
              <a:t>13.01.2003 № 1/29</a:t>
            </a:r>
          </a:p>
          <a:p>
            <a:pPr algn="ctr"/>
            <a:r>
              <a:rPr lang="ru-RU" sz="1950" b="1" dirty="0" smtClean="0">
                <a:solidFill>
                  <a:schemeClr val="tx1"/>
                </a:solidFill>
              </a:rPr>
              <a:t>«Об утверждении Порядка обучения по охране труда и проверки знаний требований охраны труда работников организаций»</a:t>
            </a:r>
          </a:p>
        </p:txBody>
      </p:sp>
      <p:sp>
        <p:nvSpPr>
          <p:cNvPr id="28" name="Овал 27"/>
          <p:cNvSpPr/>
          <p:nvPr/>
        </p:nvSpPr>
        <p:spPr>
          <a:xfrm>
            <a:off x="2606066" y="3324588"/>
            <a:ext cx="1563445" cy="878498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 раз в три года</a:t>
            </a:r>
            <a:endParaRPr lang="ru-RU" dirty="0"/>
          </a:p>
        </p:txBody>
      </p:sp>
      <p:sp>
        <p:nvSpPr>
          <p:cNvPr id="35" name="Текст 6"/>
          <p:cNvSpPr txBox="1">
            <a:spLocks/>
          </p:cNvSpPr>
          <p:nvPr/>
        </p:nvSpPr>
        <p:spPr>
          <a:xfrm>
            <a:off x="6449474" y="1722190"/>
            <a:ext cx="2016224" cy="100782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18288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Georgia" pitchFamily="18" charset="0"/>
              <a:buNone/>
            </a:pPr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lang="ru-RU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миссия по охране труда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36" name="Шестиугольник 35"/>
          <p:cNvSpPr/>
          <p:nvPr/>
        </p:nvSpPr>
        <p:spPr>
          <a:xfrm>
            <a:off x="7308483" y="1063226"/>
            <a:ext cx="1767249" cy="972108"/>
          </a:xfrm>
          <a:prstGeom prst="hexagon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Три челове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65502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22" dur="2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1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57" dur="2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0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65" dur="2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3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0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9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8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81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7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94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5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6" fill="hold">
                      <p:stCondLst>
                        <p:cond delay="indefinite"/>
                      </p:stCondLst>
                      <p:childTnLst>
                        <p:par>
                          <p:cTn id="97" fill="hold">
                            <p:stCondLst>
                              <p:cond delay="0"/>
                            </p:stCondLst>
                            <p:childTnLst>
                              <p:par>
                                <p:cTn id="98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0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1" presetID="6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03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11" grpId="0" animBg="1"/>
      <p:bldP spid="14" grpId="0" animBg="1"/>
      <p:bldP spid="15" grpId="0"/>
      <p:bldP spid="19" grpId="0" animBg="1"/>
      <p:bldP spid="21" grpId="0"/>
      <p:bldP spid="22" grpId="0" animBg="1"/>
      <p:bldP spid="25" grpId="0" animBg="1"/>
      <p:bldP spid="23" grpId="0" animBg="1"/>
      <p:bldP spid="26" grpId="0" animBg="1"/>
      <p:bldP spid="20" grpId="0" animBg="1"/>
      <p:bldP spid="27" grpId="0" animBg="1"/>
      <p:bldP spid="29" grpId="0" animBg="1"/>
      <p:bldP spid="31" grpId="0" animBg="1"/>
      <p:bldP spid="32" grpId="0" animBg="1"/>
      <p:bldP spid="28" grpId="0" animBg="1"/>
      <p:bldP spid="35" grpId="0"/>
      <p:bldP spid="36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амка 3"/>
          <p:cNvSpPr/>
          <p:nvPr/>
        </p:nvSpPr>
        <p:spPr>
          <a:xfrm>
            <a:off x="2928147" y="1866811"/>
            <a:ext cx="2448272" cy="1889537"/>
          </a:xfrm>
          <a:prstGeom prst="fram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7" name="Текст 6"/>
          <p:cNvSpPr>
            <a:spLocks noGrp="1"/>
          </p:cNvSpPr>
          <p:nvPr>
            <p:ph type="subTitle" idx="1"/>
          </p:nvPr>
        </p:nvSpPr>
        <p:spPr>
          <a:xfrm>
            <a:off x="1597244" y="116632"/>
            <a:ext cx="6503148" cy="882119"/>
          </a:xfrm>
        </p:spPr>
        <p:txBody>
          <a:bodyPr>
            <a:noAutofit/>
          </a:bodyPr>
          <a:lstStyle/>
          <a:p>
            <a:pPr algn="ctr"/>
            <a:r>
              <a:rPr lang="ru-RU" sz="2800" b="1" dirty="0" smtClean="0">
                <a:solidFill>
                  <a:schemeClr val="tx1"/>
                </a:solidFill>
              </a:rPr>
              <a:t>Статистика по обучению</a:t>
            </a:r>
            <a:endParaRPr lang="ru-RU" sz="2800" b="1" dirty="0">
              <a:solidFill>
                <a:schemeClr val="tx1"/>
              </a:solidFill>
            </a:endParaRPr>
          </a:p>
          <a:p>
            <a:pPr marL="0" indent="0" algn="ctr">
              <a:buNone/>
            </a:pPr>
            <a:endParaRPr lang="ru-RU" sz="2400" b="1" dirty="0">
              <a:solidFill>
                <a:schemeClr val="tx1"/>
              </a:solidFill>
            </a:endParaRPr>
          </a:p>
        </p:txBody>
      </p:sp>
      <p:sp>
        <p:nvSpPr>
          <p:cNvPr id="11" name="Рамка 10"/>
          <p:cNvSpPr/>
          <p:nvPr/>
        </p:nvSpPr>
        <p:spPr>
          <a:xfrm>
            <a:off x="5344844" y="4739961"/>
            <a:ext cx="2448272" cy="1656184"/>
          </a:xfrm>
          <a:prstGeom prst="frame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3" name="Текст 6"/>
          <p:cNvSpPr txBox="1">
            <a:spLocks/>
          </p:cNvSpPr>
          <p:nvPr/>
        </p:nvSpPr>
        <p:spPr>
          <a:xfrm>
            <a:off x="5379699" y="5195446"/>
            <a:ext cx="2016224" cy="122413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18288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Georgia" pitchFamily="18" charset="0"/>
              <a:buNone/>
            </a:pP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14" name="Рамка 13"/>
          <p:cNvSpPr/>
          <p:nvPr/>
        </p:nvSpPr>
        <p:spPr>
          <a:xfrm>
            <a:off x="6090336" y="1583829"/>
            <a:ext cx="2874152" cy="1656184"/>
          </a:xfrm>
          <a:prstGeom prst="frame">
            <a:avLst/>
          </a:prstGeom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5" name="Текст 6"/>
          <p:cNvSpPr txBox="1">
            <a:spLocks/>
          </p:cNvSpPr>
          <p:nvPr/>
        </p:nvSpPr>
        <p:spPr>
          <a:xfrm>
            <a:off x="3161399" y="2046831"/>
            <a:ext cx="2016224" cy="122413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18288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Georgia" pitchFamily="18" charset="0"/>
              <a:buNone/>
            </a:pPr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</a:t>
            </a:r>
            <a:r>
              <a:rPr lang="ru-RU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ководители и специалисты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4999198" y="2888657"/>
            <a:ext cx="2396725" cy="914400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о</a:t>
            </a:r>
            <a:r>
              <a:rPr lang="ru-RU" dirty="0" smtClean="0"/>
              <a:t>бучающие центры</a:t>
            </a:r>
            <a:endParaRPr lang="ru-RU" dirty="0"/>
          </a:p>
        </p:txBody>
      </p:sp>
      <p:sp>
        <p:nvSpPr>
          <p:cNvPr id="21" name="Прямоугольник 20"/>
          <p:cNvSpPr/>
          <p:nvPr/>
        </p:nvSpPr>
        <p:spPr>
          <a:xfrm>
            <a:off x="5791722" y="5336071"/>
            <a:ext cx="1516762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/>
            <a:r>
              <a:rPr lang="ru-RU" sz="2000" b="1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ники</a:t>
            </a:r>
            <a:endParaRPr lang="ru-RU" sz="2000" b="1" dirty="0">
              <a:solidFill>
                <a:prstClr val="black"/>
              </a:solidFill>
            </a:endParaRPr>
          </a:p>
        </p:txBody>
      </p:sp>
      <p:sp>
        <p:nvSpPr>
          <p:cNvPr id="22" name="Стрелка вправо 21"/>
          <p:cNvSpPr/>
          <p:nvPr/>
        </p:nvSpPr>
        <p:spPr>
          <a:xfrm>
            <a:off x="4677540" y="3240012"/>
            <a:ext cx="398516" cy="730849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Овал 24"/>
          <p:cNvSpPr/>
          <p:nvPr/>
        </p:nvSpPr>
        <p:spPr>
          <a:xfrm>
            <a:off x="4050591" y="557043"/>
            <a:ext cx="3146648" cy="1660952"/>
          </a:xfrm>
          <a:prstGeom prst="ellipse">
            <a:avLst/>
          </a:prstGeom>
          <a:solidFill>
            <a:schemeClr val="accent5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1600" b="1" dirty="0" smtClean="0"/>
              <a:t>локальный нормативный акт о создании комиссии и утверждении программы обучения</a:t>
            </a:r>
            <a:endParaRPr lang="ru-RU" sz="1600" b="1" dirty="0"/>
          </a:p>
        </p:txBody>
      </p:sp>
      <p:sp>
        <p:nvSpPr>
          <p:cNvPr id="23" name="Стрелка вправо 22"/>
          <p:cNvSpPr/>
          <p:nvPr/>
        </p:nvSpPr>
        <p:spPr>
          <a:xfrm>
            <a:off x="5940153" y="1878955"/>
            <a:ext cx="488178" cy="1112055"/>
          </a:xfrm>
          <a:prstGeom prst="right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Овал 25"/>
          <p:cNvSpPr/>
          <p:nvPr/>
        </p:nvSpPr>
        <p:spPr>
          <a:xfrm>
            <a:off x="2928147" y="4351594"/>
            <a:ext cx="3146648" cy="1184532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 список работников для обучения комиссией</a:t>
            </a:r>
            <a:endParaRPr lang="ru-RU" dirty="0"/>
          </a:p>
        </p:txBody>
      </p:sp>
      <p:sp>
        <p:nvSpPr>
          <p:cNvPr id="20" name="Стрелка вниз 19"/>
          <p:cNvSpPr/>
          <p:nvPr/>
        </p:nvSpPr>
        <p:spPr>
          <a:xfrm>
            <a:off x="7308483" y="3140968"/>
            <a:ext cx="675417" cy="1659788"/>
          </a:xfrm>
          <a:prstGeom prst="downArrow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7" name="Овал 26"/>
          <p:cNvSpPr/>
          <p:nvPr/>
        </p:nvSpPr>
        <p:spPr>
          <a:xfrm>
            <a:off x="2915603" y="5641307"/>
            <a:ext cx="3146648" cy="1184532"/>
          </a:xfrm>
          <a:prstGeom prst="ellips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/>
              <a:t>у</a:t>
            </a:r>
            <a:r>
              <a:rPr lang="ru-RU" dirty="0" smtClean="0"/>
              <a:t>достоверение о прохождении обучения</a:t>
            </a:r>
            <a:endParaRPr lang="ru-RU" dirty="0"/>
          </a:p>
        </p:txBody>
      </p:sp>
      <p:sp>
        <p:nvSpPr>
          <p:cNvPr id="29" name="Овал 28"/>
          <p:cNvSpPr/>
          <p:nvPr/>
        </p:nvSpPr>
        <p:spPr>
          <a:xfrm>
            <a:off x="7197239" y="5451074"/>
            <a:ext cx="1573324" cy="1184532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 раз в три года</a:t>
            </a:r>
            <a:endParaRPr lang="ru-RU" dirty="0"/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187362" y="656692"/>
            <a:ext cx="2664296" cy="1224136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chemeClr val="tx1"/>
                </a:solidFill>
              </a:rPr>
              <a:t>Статья 225 Трудового кодекса РФ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85837" y="2096852"/>
            <a:ext cx="2765821" cy="4212468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950" b="1" dirty="0">
                <a:solidFill>
                  <a:schemeClr val="tx1"/>
                </a:solidFill>
              </a:rPr>
              <a:t>Постановление Минтруда России, Минобразования России от </a:t>
            </a:r>
            <a:r>
              <a:rPr lang="ru-RU" sz="1950" b="1" dirty="0" smtClean="0">
                <a:solidFill>
                  <a:schemeClr val="tx1"/>
                </a:solidFill>
              </a:rPr>
              <a:t>13.01.2003 № 1/29</a:t>
            </a:r>
          </a:p>
          <a:p>
            <a:pPr algn="ctr"/>
            <a:r>
              <a:rPr lang="ru-RU" sz="1950" b="1" dirty="0" smtClean="0">
                <a:solidFill>
                  <a:schemeClr val="tx1"/>
                </a:solidFill>
              </a:rPr>
              <a:t>«Об утверждении Порядка обучения по охране труда и проверки знаний требований охраны труда работников организаций»</a:t>
            </a:r>
          </a:p>
        </p:txBody>
      </p:sp>
      <p:sp>
        <p:nvSpPr>
          <p:cNvPr id="28" name="Овал 27"/>
          <p:cNvSpPr/>
          <p:nvPr/>
        </p:nvSpPr>
        <p:spPr>
          <a:xfrm>
            <a:off x="2606066" y="3324588"/>
            <a:ext cx="1563445" cy="878498"/>
          </a:xfrm>
          <a:prstGeom prst="ellipse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1 раз в три года</a:t>
            </a:r>
            <a:endParaRPr lang="ru-RU" dirty="0"/>
          </a:p>
        </p:txBody>
      </p:sp>
      <p:sp>
        <p:nvSpPr>
          <p:cNvPr id="35" name="Текст 6"/>
          <p:cNvSpPr txBox="1">
            <a:spLocks/>
          </p:cNvSpPr>
          <p:nvPr/>
        </p:nvSpPr>
        <p:spPr>
          <a:xfrm>
            <a:off x="6449474" y="1722190"/>
            <a:ext cx="2016224" cy="1007829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marL="18288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1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None/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Georgia" pitchFamily="18" charset="0"/>
              <a:buNone/>
            </a:pPr>
            <a:r>
              <a:rPr lang="ru-RU" sz="20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</a:t>
            </a:r>
            <a:r>
              <a:rPr lang="ru-RU" sz="20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миссия по охране труда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36" name="Шестиугольник 35"/>
          <p:cNvSpPr/>
          <p:nvPr/>
        </p:nvSpPr>
        <p:spPr>
          <a:xfrm>
            <a:off x="7308483" y="1063226"/>
            <a:ext cx="1767249" cy="972108"/>
          </a:xfrm>
          <a:prstGeom prst="hexagon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Три человека</a:t>
            </a:r>
            <a:endParaRPr lang="ru-RU" dirty="0"/>
          </a:p>
        </p:txBody>
      </p:sp>
      <p:sp>
        <p:nvSpPr>
          <p:cNvPr id="5" name="Знак запрета 4"/>
          <p:cNvSpPr/>
          <p:nvPr/>
        </p:nvSpPr>
        <p:spPr>
          <a:xfrm>
            <a:off x="4827076" y="4327122"/>
            <a:ext cx="3357209" cy="2474245"/>
          </a:xfrm>
          <a:prstGeom prst="noSmoking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3600" b="1" dirty="0">
                <a:solidFill>
                  <a:schemeClr val="tx1"/>
                </a:solidFill>
              </a:rPr>
              <a:t>д</a:t>
            </a:r>
            <a:r>
              <a:rPr lang="ru-RU" sz="3600" b="1" dirty="0" smtClean="0">
                <a:solidFill>
                  <a:schemeClr val="tx1"/>
                </a:solidFill>
              </a:rPr>
              <a:t>анные не подаются</a:t>
            </a:r>
            <a:endParaRPr lang="ru-RU" sz="3600" b="1" dirty="0">
              <a:solidFill>
                <a:schemeClr val="tx1"/>
              </a:solidFill>
            </a:endParaRPr>
          </a:p>
        </p:txBody>
      </p:sp>
      <p:sp>
        <p:nvSpPr>
          <p:cNvPr id="6" name="Выноска со стрелкой вниз 5"/>
          <p:cNvSpPr/>
          <p:nvPr/>
        </p:nvSpPr>
        <p:spPr>
          <a:xfrm>
            <a:off x="2099075" y="713048"/>
            <a:ext cx="2902038" cy="1669062"/>
          </a:xfrm>
          <a:prstGeom prst="downArrowCallou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д</a:t>
            </a:r>
            <a:r>
              <a:rPr lang="ru-RU" dirty="0" smtClean="0">
                <a:solidFill>
                  <a:schemeClr val="tx1"/>
                </a:solidFill>
              </a:rPr>
              <a:t>анные  о количестве обученных подаются в статистику </a:t>
            </a:r>
            <a:endParaRPr lang="ru-RU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6650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дзаголовок 1"/>
          <p:cNvSpPr txBox="1">
            <a:spLocks/>
          </p:cNvSpPr>
          <p:nvPr/>
        </p:nvSpPr>
        <p:spPr>
          <a:xfrm>
            <a:off x="454807" y="260648"/>
            <a:ext cx="8208912" cy="144016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22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9728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89888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664208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965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860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587752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" indent="0" algn="ctr">
              <a:buNone/>
            </a:pPr>
            <a:endParaRPr lang="ru-RU" sz="2800" b="1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-1831193" y="-1827584"/>
            <a:ext cx="4572000" cy="338554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>
            <a:spAutoFit/>
          </a:bodyPr>
          <a:lstStyle/>
          <a:p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321643" y="836712"/>
            <a:ext cx="6122565" cy="5760640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руководители организаций;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заместители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ей организаций, курирующие вопросы охраны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руда; 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заместители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лавных инженеров по охране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руда; 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работодатели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физические лица, иные лица, занимающиеся предпринимательской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еятельностью;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руководители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пециалисты, инженерно-технические  работники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осуществляющие организацию, руководство и проведение работ на рабочих местах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и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производственных подразделениях, а также контроль и технический надзор за проведением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работ; 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специалисты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лужб охраны труда, работники,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торых работодателем возложены обязанности организации работы по охране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руда; 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 algn="just">
              <a:buFontTx/>
              <a:buChar char="-"/>
            </a:pP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члены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миссий по охране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руда;</a:t>
            </a:r>
          </a:p>
          <a:p>
            <a:pPr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уполномоченные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доверенные) лица по охране труда профессиональных союзов и иных уполномоченных работниками представительных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ов;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специалисты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ов местного самоуправления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ласти охраны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руда; 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- члены </a:t>
            </a:r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омиссий по проверке знаний требований охраны труда </a:t>
            </a:r>
            <a:r>
              <a:rPr lang="ru-RU" sz="16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й. 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dirty="0"/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323528" y="253802"/>
            <a:ext cx="4896544" cy="582910"/>
          </a:xfrm>
          <a:prstGeom prst="round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i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ециальное обучение по охране труда в объеме должностных обязанностей</a:t>
            </a:r>
            <a:endParaRPr lang="ru-RU" dirty="0"/>
          </a:p>
        </p:txBody>
      </p:sp>
      <p:sp>
        <p:nvSpPr>
          <p:cNvPr id="8" name="Прямоугольник с двумя скругленными противолежащими углами 7"/>
          <p:cNvSpPr/>
          <p:nvPr/>
        </p:nvSpPr>
        <p:spPr>
          <a:xfrm>
            <a:off x="6804248" y="545257"/>
            <a:ext cx="2232248" cy="3600400"/>
          </a:xfrm>
          <a:prstGeom prst="round2DiagRect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 поступлении на работу </a:t>
            </a:r>
            <a:endParaRPr lang="ru-RU" b="1" i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</a:t>
            </a:r>
            <a:r>
              <a:rPr lang="ru-RU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течение первого месяца, </a:t>
            </a:r>
            <a:endParaRPr lang="ru-RU" b="1" i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далее - по </a:t>
            </a:r>
            <a:r>
              <a:rPr lang="ru-RU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ере необходимости, но не реже одного раза </a:t>
            </a:r>
            <a:endParaRPr lang="ru-RU" b="1" i="1" dirty="0" smtClean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b="1" i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 3 </a:t>
            </a:r>
            <a:r>
              <a:rPr lang="ru-RU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да</a:t>
            </a:r>
            <a:endParaRPr lang="ru-RU" dirty="0"/>
          </a:p>
        </p:txBody>
      </p:sp>
      <p:sp>
        <p:nvSpPr>
          <p:cNvPr id="11" name="Стрелка вправо 10"/>
          <p:cNvSpPr/>
          <p:nvPr/>
        </p:nvSpPr>
        <p:spPr>
          <a:xfrm>
            <a:off x="4716016" y="414376"/>
            <a:ext cx="2376264" cy="844672"/>
          </a:xfrm>
          <a:prstGeom prst="rightArrow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b="1" i="1" dirty="0" smtClean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b="1" i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ходят</a:t>
            </a:r>
            <a:endParaRPr lang="ru-RU" dirty="0"/>
          </a:p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94513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кругленный прямоугольник 2"/>
          <p:cNvSpPr/>
          <p:nvPr/>
        </p:nvSpPr>
        <p:spPr>
          <a:xfrm>
            <a:off x="179512" y="498376"/>
            <a:ext cx="2592288" cy="1418456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к</a:t>
            </a:r>
            <a:r>
              <a:rPr lang="ru-RU" dirty="0" smtClean="0">
                <a:solidFill>
                  <a:schemeClr val="tx1"/>
                </a:solidFill>
              </a:rPr>
              <a:t>оличество обученных в обучающих центрах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4" name="Овал 3"/>
          <p:cNvSpPr/>
          <p:nvPr/>
        </p:nvSpPr>
        <p:spPr>
          <a:xfrm>
            <a:off x="3275857" y="498376"/>
            <a:ext cx="2232248" cy="1800200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н</a:t>
            </a:r>
            <a:r>
              <a:rPr lang="ru-RU" dirty="0" smtClean="0"/>
              <a:t>е менее 3 человека в организации</a:t>
            </a:r>
            <a:endParaRPr lang="ru-RU" dirty="0"/>
          </a:p>
        </p:txBody>
      </p:sp>
      <p:sp>
        <p:nvSpPr>
          <p:cNvPr id="5" name="Овал 4"/>
          <p:cNvSpPr/>
          <p:nvPr/>
        </p:nvSpPr>
        <p:spPr>
          <a:xfrm>
            <a:off x="2483768" y="866453"/>
            <a:ext cx="1008112" cy="720080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8000" dirty="0" smtClean="0"/>
              <a:t>=</a:t>
            </a:r>
            <a:endParaRPr lang="ru-RU" sz="8000" dirty="0"/>
          </a:p>
        </p:txBody>
      </p:sp>
      <p:sp>
        <p:nvSpPr>
          <p:cNvPr id="7" name="Овал 6"/>
          <p:cNvSpPr/>
          <p:nvPr/>
        </p:nvSpPr>
        <p:spPr>
          <a:xfrm>
            <a:off x="6012160" y="482402"/>
            <a:ext cx="2952328" cy="1800200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н</a:t>
            </a:r>
            <a:r>
              <a:rPr lang="ru-RU" dirty="0" smtClean="0"/>
              <a:t>е менее 1 человек у индивидуального предпринимателя</a:t>
            </a:r>
            <a:endParaRPr lang="ru-RU" dirty="0"/>
          </a:p>
        </p:txBody>
      </p:sp>
      <p:sp>
        <p:nvSpPr>
          <p:cNvPr id="6" name="Овал 5"/>
          <p:cNvSpPr/>
          <p:nvPr/>
        </p:nvSpPr>
        <p:spPr>
          <a:xfrm>
            <a:off x="5364088" y="904392"/>
            <a:ext cx="1008112" cy="720080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8000" dirty="0"/>
              <a:t>+</a:t>
            </a:r>
            <a:endParaRPr lang="ru-RU" sz="8000" dirty="0"/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79512" y="2399804"/>
            <a:ext cx="2592288" cy="2001304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в Тюменском муниципальном районе  должно быть обучено в обучающих центрах 10 111 человек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3347864" y="2500356"/>
            <a:ext cx="2232248" cy="1800200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н</a:t>
            </a:r>
            <a:r>
              <a:rPr lang="ru-RU" dirty="0" smtClean="0"/>
              <a:t>е менее 2157*3 человека в организации</a:t>
            </a:r>
            <a:endParaRPr lang="ru-RU" dirty="0"/>
          </a:p>
        </p:txBody>
      </p:sp>
      <p:sp>
        <p:nvSpPr>
          <p:cNvPr id="12" name="Овал 11"/>
          <p:cNvSpPr/>
          <p:nvPr/>
        </p:nvSpPr>
        <p:spPr>
          <a:xfrm>
            <a:off x="6012160" y="2467062"/>
            <a:ext cx="2952328" cy="1800200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н</a:t>
            </a:r>
            <a:r>
              <a:rPr lang="ru-RU" dirty="0" smtClean="0"/>
              <a:t>е менее 3640*1 человек у индивидуального предпринимателя</a:t>
            </a:r>
            <a:endParaRPr lang="ru-RU" dirty="0"/>
          </a:p>
        </p:txBody>
      </p:sp>
      <p:sp>
        <p:nvSpPr>
          <p:cNvPr id="9" name="Овал 8"/>
          <p:cNvSpPr/>
          <p:nvPr/>
        </p:nvSpPr>
        <p:spPr>
          <a:xfrm>
            <a:off x="2642667" y="2924944"/>
            <a:ext cx="1008112" cy="720080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8000" dirty="0" smtClean="0"/>
              <a:t>=</a:t>
            </a:r>
            <a:endParaRPr lang="ru-RU" sz="8000" dirty="0"/>
          </a:p>
        </p:txBody>
      </p:sp>
      <p:sp>
        <p:nvSpPr>
          <p:cNvPr id="11" name="Овал 10"/>
          <p:cNvSpPr/>
          <p:nvPr/>
        </p:nvSpPr>
        <p:spPr>
          <a:xfrm>
            <a:off x="5407099" y="2924944"/>
            <a:ext cx="1008112" cy="720080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8000" dirty="0"/>
              <a:t>+</a:t>
            </a:r>
            <a:endParaRPr lang="ru-RU" sz="8000" dirty="0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79512" y="4581128"/>
            <a:ext cx="2592288" cy="2001304"/>
          </a:xfrm>
          <a:prstGeom prst="roundRect">
            <a:avLst/>
          </a:prstGeom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в муниципальном образовании </a:t>
            </a:r>
          </a:p>
          <a:p>
            <a:pPr algn="ctr"/>
            <a:r>
              <a:rPr lang="ru-RU" dirty="0" smtClean="0">
                <a:solidFill>
                  <a:schemeClr val="tx1"/>
                </a:solidFill>
              </a:rPr>
              <a:t>п. Боровский должно быть обучено в обучающих центрах 1 507 человек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3347864" y="4681680"/>
            <a:ext cx="2232248" cy="1800200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н</a:t>
            </a:r>
            <a:r>
              <a:rPr lang="ru-RU" dirty="0" smtClean="0"/>
              <a:t>е менее 343*3 человека в организации</a:t>
            </a:r>
            <a:endParaRPr lang="ru-RU" dirty="0"/>
          </a:p>
        </p:txBody>
      </p:sp>
      <p:sp>
        <p:nvSpPr>
          <p:cNvPr id="17" name="Овал 16"/>
          <p:cNvSpPr/>
          <p:nvPr/>
        </p:nvSpPr>
        <p:spPr>
          <a:xfrm>
            <a:off x="6032698" y="4715644"/>
            <a:ext cx="2952328" cy="1800200"/>
          </a:xfrm>
          <a:prstGeom prst="ellipse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н</a:t>
            </a:r>
            <a:r>
              <a:rPr lang="ru-RU" dirty="0" smtClean="0"/>
              <a:t>е менее 478*1 человек у индивидуального предпринимателя</a:t>
            </a:r>
            <a:endParaRPr lang="ru-RU" dirty="0"/>
          </a:p>
        </p:txBody>
      </p:sp>
      <p:sp>
        <p:nvSpPr>
          <p:cNvPr id="16" name="Овал 15"/>
          <p:cNvSpPr/>
          <p:nvPr/>
        </p:nvSpPr>
        <p:spPr>
          <a:xfrm>
            <a:off x="5364088" y="5221740"/>
            <a:ext cx="1008112" cy="720080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8000" dirty="0"/>
              <a:t>+</a:t>
            </a:r>
            <a:endParaRPr lang="ru-RU" sz="8000" dirty="0"/>
          </a:p>
        </p:txBody>
      </p:sp>
      <p:sp>
        <p:nvSpPr>
          <p:cNvPr id="14" name="Овал 13"/>
          <p:cNvSpPr/>
          <p:nvPr/>
        </p:nvSpPr>
        <p:spPr>
          <a:xfrm>
            <a:off x="2483768" y="5221740"/>
            <a:ext cx="1008112" cy="720080"/>
          </a:xfrm>
          <a:prstGeom prst="ellipse">
            <a:avLst/>
          </a:prstGeom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8000" dirty="0" smtClean="0"/>
              <a:t>=</a:t>
            </a:r>
            <a:endParaRPr lang="ru-RU" sz="8000" dirty="0"/>
          </a:p>
        </p:txBody>
      </p:sp>
    </p:spTree>
    <p:extLst>
      <p:ext uri="{BB962C8B-B14F-4D97-AF65-F5344CB8AC3E}">
        <p14:creationId xmlns:p14="http://schemas.microsoft.com/office/powerpoint/2010/main" val="2765059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дзаголовок 1"/>
          <p:cNvSpPr txBox="1">
            <a:spLocks/>
          </p:cNvSpPr>
          <p:nvPr/>
        </p:nvSpPr>
        <p:spPr>
          <a:xfrm>
            <a:off x="454807" y="260648"/>
            <a:ext cx="8208912" cy="1440160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2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54864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822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09728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6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389888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664208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96596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286000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587752" indent="-182880" algn="l" defTabSz="914400" rtl="0" eaLnBrk="1" latinLnBrk="0" hangingPunct="1">
              <a:spcBef>
                <a:spcPct val="20000"/>
              </a:spcBef>
              <a:spcAft>
                <a:spcPts val="300"/>
              </a:spcAft>
              <a:buClr>
                <a:schemeClr val="accent6">
                  <a:lumMod val="75000"/>
                </a:schemeClr>
              </a:buClr>
              <a:buSzPct val="130000"/>
              <a:buFont typeface="Georgia" pitchFamily="18" charset="0"/>
              <a:buChar char="*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" indent="0" algn="ctr">
              <a:buNone/>
            </a:pPr>
            <a:endParaRPr lang="ru-RU" sz="2800" b="1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251521" y="1268760"/>
            <a:ext cx="871296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Сведения </a:t>
            </a:r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 обучении по охране труда в Тюменской области</a:t>
            </a:r>
          </a:p>
          <a:p>
            <a:pPr algn="ctr"/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____________________________________________________________</a:t>
            </a:r>
          </a:p>
          <a:p>
            <a:pPr algn="ctr"/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(наименование обучающей организации) за ____ квартал 20___ года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619672" y="260648"/>
            <a:ext cx="7344815" cy="864096"/>
          </a:xfrm>
          <a:prstGeom prst="round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r"/>
            <a:endParaRPr lang="ru-RU" sz="1600" b="1" i="1" dirty="0" smtClean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r"/>
            <a:r>
              <a:rPr lang="ru-RU" sz="1600" b="1" i="1" dirty="0" smtClean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ложение </a:t>
            </a: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№ 4 к перечню форм мониторинга условий и охраны труда</a:t>
            </a:r>
          </a:p>
          <a:p>
            <a:pPr algn="r"/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Тюменской области (постановление Правительства Тюменской области от 15.08.2012 № 304-п)</a:t>
            </a:r>
          </a:p>
          <a:p>
            <a:pPr algn="ctr"/>
            <a:endParaRPr lang="ru-RU" dirty="0"/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07263458"/>
              </p:ext>
            </p:extLst>
          </p:nvPr>
        </p:nvGraphicFramePr>
        <p:xfrm>
          <a:off x="251521" y="2130535"/>
          <a:ext cx="8712967" cy="2196870"/>
        </p:xfrm>
        <a:graphic>
          <a:graphicData uri="http://schemas.openxmlformats.org/drawingml/2006/table">
            <a:tbl>
              <a:tblPr>
                <a:effectLst>
                  <a:reflection blurRad="6350" stA="52000" endA="300" endPos="35000" dir="5400000" sy="-100000" algn="bl" rotWithShape="0"/>
                </a:effectLst>
                <a:tableStyleId>{5C22544A-7EE6-4342-B048-85BDC9FD1C3A}</a:tableStyleId>
              </a:tblPr>
              <a:tblGrid>
                <a:gridCol w="360039"/>
                <a:gridCol w="504056"/>
                <a:gridCol w="432048"/>
                <a:gridCol w="432048"/>
                <a:gridCol w="648072"/>
                <a:gridCol w="360040"/>
                <a:gridCol w="1152128"/>
                <a:gridCol w="377072"/>
                <a:gridCol w="635352"/>
                <a:gridCol w="635352"/>
                <a:gridCol w="635352"/>
                <a:gridCol w="635352"/>
                <a:gridCol w="635352"/>
                <a:gridCol w="635352"/>
                <a:gridCol w="635352"/>
              </a:tblGrid>
              <a:tr h="463258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№ п/п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именование организации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НН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чтовый адрес, телефон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  <a:hlinkClick r:id="rId3"/>
                        </a:rPr>
                        <a:t>ОКВЭД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сновной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численность работающи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8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учено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6595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го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.ч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подлежащих обучению в учебных центрах </a:t>
                      </a:r>
                      <a:r>
                        <a:rPr lang="ru-RU" sz="1200" u="none" strike="noStrike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  <a:hlinkClick r:id="rId4" action="ppaction://hlinkfile"/>
                        </a:rPr>
                        <a:t>&lt;*&gt;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сего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 row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.ч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на малых предприятия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 gridSpan="6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том числе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5786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уководители организации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.ч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на малых предприятиях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пециалисты по охране труда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т.ч. на малых предприятия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чие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т.ч. на малых предприятиях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</a:tr>
              <a:tr h="28180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Calibri"/>
                        <a:cs typeface="Times New Roman" panose="02020603050405020304" pitchFamily="18" charset="0"/>
                      </a:endParaRPr>
                    </a:p>
                  </a:txBody>
                  <a:tcPr marL="27373" marR="27373" marT="45033" marB="45033"/>
                </a:tc>
              </a:tr>
              <a:tr h="22167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 </a:t>
                      </a:r>
                      <a:endParaRPr lang="ru-RU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>
                          <a:effectLst/>
                        </a:rPr>
                        <a:t> </a:t>
                      </a:r>
                      <a:endParaRPr lang="ru-RU" sz="8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7373" marR="27373" marT="45033" marB="45033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800" dirty="0">
                          <a:effectLst/>
                        </a:rPr>
                        <a:t> </a:t>
                      </a:r>
                      <a:endParaRPr lang="ru-RU" sz="8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7373" marR="27373" marT="45033" marB="45033"/>
                </a:tc>
              </a:tr>
            </a:tbl>
          </a:graphicData>
        </a:graphic>
      </p:graphicFrame>
      <p:sp>
        <p:nvSpPr>
          <p:cNvPr id="12" name="Прямоугольник 11"/>
          <p:cNvSpPr/>
          <p:nvPr/>
        </p:nvSpPr>
        <p:spPr>
          <a:xfrm>
            <a:off x="281426" y="4395787"/>
            <a:ext cx="8712965" cy="24622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--------------------------------</a:t>
            </a:r>
          </a:p>
          <a:p>
            <a:pPr algn="just"/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&lt;*&gt; Руководители организаций, заместители руководителей организаций, курирующие вопросы охраны труда, заместители главных инженеров по охране труда, работодатели - физические лица, иные лица, занимающиеся предпринимательской деятельностью; руководители, специалисты, инженерно-технические работники, осуществляющие организацию, руководство и проведение работ на рабочих местах и в производственных подразделениях, а также контроль и технический надзор за проведением работ; специалисты служб охраны труда, работники, на которых работодателем возложены обязанности организации работы по охране труда, члены комитетов (комиссий) по охране труда, уполномоченные (доверенные) лица по охране труда профессиональных союзов и иных уполномоченных работниками представительных органов; члены комиссий по проверке знаний требований охраны труда организаций (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  <a:hlinkClick r:id="rId5"/>
              </a:rPr>
              <a:t>постановление</a:t>
            </a:r>
            <a:r>
              <a:rPr lang="ru-RU" sz="1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Минтруда России, Минобразования России от 13.01.2003 N 1/29).</a:t>
            </a:r>
          </a:p>
          <a:p>
            <a:r>
              <a:rPr lang="ru-RU" dirty="0"/>
              <a:t> </a:t>
            </a:r>
          </a:p>
          <a:p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уководитель ____________________ _________________________________________</a:t>
            </a:r>
          </a:p>
          <a:p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(подпись)                       (Ф.И.О.)</a:t>
            </a:r>
          </a:p>
          <a:p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сполнитель: ______________________________________________________________</a:t>
            </a:r>
          </a:p>
          <a:p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              (должность, Ф.И.О., телефон)</a:t>
            </a:r>
          </a:p>
        </p:txBody>
      </p:sp>
    </p:spTree>
    <p:extLst>
      <p:ext uri="{BB962C8B-B14F-4D97-AF65-F5344CB8AC3E}">
        <p14:creationId xmlns:p14="http://schemas.microsoft.com/office/powerpoint/2010/main" val="2486651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fhEIgrQW0O8MRBAincG.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U3DQTD3UiJsMTdyon.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0LvttXNQkuFXgKw2_nnZ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yhy4m8AUeHUveOChyC1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vXf6T7s0KP7WLY2XiUu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ktGeR2F06JI5hF0TGRU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rhBFIiuEeHuu3LbMpfBw"/>
</p:tagLst>
</file>

<file path=ppt/theme/theme1.xml><?xml version="1.0" encoding="utf-8"?>
<a:theme xmlns:a="http://schemas.openxmlformats.org/drawingml/2006/main" name="Воздушный поток">
  <a:themeElements>
    <a:clrScheme name="Воздушный поток">
      <a:dk1>
        <a:sysClr val="windowText" lastClr="000000"/>
      </a:dk1>
      <a:lt1>
        <a:sysClr val="window" lastClr="FFFFFF"/>
      </a:lt1>
      <a:dk2>
        <a:srgbClr val="212745"/>
      </a:dk2>
      <a:lt2>
        <a:srgbClr val="B4DCFA"/>
      </a:lt2>
      <a:accent1>
        <a:srgbClr val="4E67C8"/>
      </a:accent1>
      <a:accent2>
        <a:srgbClr val="5ECCF3"/>
      </a:accent2>
      <a:accent3>
        <a:srgbClr val="A7EA52"/>
      </a:accent3>
      <a:accent4>
        <a:srgbClr val="5DCEAF"/>
      </a:accent4>
      <a:accent5>
        <a:srgbClr val="FF8021"/>
      </a:accent5>
      <a:accent6>
        <a:srgbClr val="F14124"/>
      </a:accent6>
      <a:hlink>
        <a:srgbClr val="56C7AA"/>
      </a:hlink>
      <a:folHlink>
        <a:srgbClr val="59A8D1"/>
      </a:folHlink>
    </a:clrScheme>
    <a:fontScheme name="Воздушный поток">
      <a:majorFont>
        <a:latin typeface="Trebuchet MS"/>
        <a:ea typeface=""/>
        <a:cs typeface=""/>
        <a:font script="Jpan" typeface="HGｺﾞｼｯｸM"/>
        <a:font script="Hang" typeface="HY그래픽B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HGｺﾞｼｯｸM"/>
        <a:font script="Hang" typeface="HY그래픽M"/>
        <a:font script="Hans" typeface="方正姚体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Воздушный поток">
      <a:fillStyleLst>
        <a:solidFill>
          <a:schemeClr val="phClr"/>
        </a:solidFill>
        <a:gradFill rotWithShape="1">
          <a:gsLst>
            <a:gs pos="28000">
              <a:schemeClr val="phClr">
                <a:tint val="18000"/>
                <a:satMod val="120000"/>
                <a:lumMod val="88000"/>
              </a:schemeClr>
            </a:gs>
            <a:gs pos="100000">
              <a:schemeClr val="phClr">
                <a:tint val="40000"/>
                <a:satMod val="100000"/>
                <a:lumMod val="7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lumMod val="95000"/>
              </a:schemeClr>
            </a:gs>
            <a:gs pos="100000">
              <a:schemeClr val="phClr">
                <a:shade val="82000"/>
                <a:satMod val="125000"/>
                <a:lumMod val="74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>
              <a:shade val="75000"/>
              <a:satMod val="125000"/>
              <a:lumMod val="7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50800" dir="5400000" sx="98000" sy="98000" rotWithShape="0">
              <a:srgbClr val="000000">
                <a:alpha val="20000"/>
              </a:srgbClr>
            </a:outerShdw>
          </a:effectLst>
        </a:effectStyle>
        <a:effectStyle>
          <a:effectLst>
            <a:outerShdw blurRad="40005" dist="22984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alanced" dir="tr"/>
          </a:scene3d>
          <a:sp3d prstMaterial="matte">
            <a:bevelT w="19050" h="38100"/>
          </a:sp3d>
        </a:effectStyle>
        <a:effectStyle>
          <a:effectLst>
            <a:reflection blurRad="38100" stA="26000" endPos="23000" dist="25400" dir="5400000" sy="-100000" rotWithShape="0"/>
          </a:effectLst>
          <a:scene3d>
            <a:camera prst="orthographicFront">
              <a:rot lat="0" lon="0" rev="0"/>
            </a:camera>
            <a:lightRig rig="balanced" dir="tr"/>
          </a:scene3d>
          <a:sp3d contourW="14605" prstMaterial="plastic">
            <a:bevelT w="50800"/>
            <a:contourClr>
              <a:schemeClr val="phClr">
                <a:shade val="30000"/>
                <a:satMod val="12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8000"/>
                <a:shade val="90000"/>
                <a:satMod val="160000"/>
                <a:lumMod val="100000"/>
              </a:schemeClr>
            </a:gs>
            <a:gs pos="60000">
              <a:schemeClr val="phClr">
                <a:tint val="95000"/>
                <a:shade val="100000"/>
                <a:satMod val="130000"/>
                <a:lumMod val="130000"/>
              </a:schemeClr>
            </a:gs>
            <a:gs pos="100000">
              <a:schemeClr val="phClr">
                <a:tint val="97000"/>
                <a:shade val="100000"/>
                <a:hueMod val="100000"/>
                <a:satMod val="140000"/>
                <a:lumMod val="80000"/>
              </a:schemeClr>
            </a:gs>
          </a:gsLst>
          <a:path path="circle">
            <a:fillToRect l="20000" t="10000" r="20000" b="60000"/>
          </a:path>
        </a:gradFill>
        <a:gradFill rotWithShape="1">
          <a:gsLst>
            <a:gs pos="0">
              <a:schemeClr val="phClr">
                <a:tint val="94000"/>
                <a:satMod val="160000"/>
                <a:lumMod val="160000"/>
              </a:schemeClr>
            </a:gs>
            <a:gs pos="42000">
              <a:schemeClr val="phClr">
                <a:tint val="94000"/>
                <a:shade val="94000"/>
                <a:satMod val="160000"/>
                <a:lumMod val="130000"/>
              </a:schemeClr>
            </a:gs>
            <a:gs pos="100000">
              <a:schemeClr val="phClr">
                <a:tint val="97000"/>
                <a:shade val="94000"/>
                <a:satMod val="180000"/>
                <a:lumMod val="84000"/>
              </a:schemeClr>
            </a:gs>
          </a:gsLst>
          <a:path path="circle">
            <a:fillToRect l="24000" t="44000" r="24000" b="12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lipstream</Template>
  <TotalTime>2572</TotalTime>
  <Words>2937</Words>
  <Application>Microsoft Office PowerPoint</Application>
  <PresentationFormat>Экран (4:3)</PresentationFormat>
  <Paragraphs>1625</Paragraphs>
  <Slides>19</Slides>
  <Notes>16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9</vt:i4>
      </vt:variant>
    </vt:vector>
  </HeadingPairs>
  <TitlesOfParts>
    <vt:vector size="20" baseType="lpstr">
      <vt:lpstr>Воздушный поток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пасибо за внимание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exey Lychko</dc:creator>
  <cp:lastModifiedBy>Васютина Марина Владимировна</cp:lastModifiedBy>
  <cp:revision>279</cp:revision>
  <cp:lastPrinted>2019-04-25T08:32:49Z</cp:lastPrinted>
  <dcterms:created xsi:type="dcterms:W3CDTF">2017-01-17T12:02:38Z</dcterms:created>
  <dcterms:modified xsi:type="dcterms:W3CDTF">2019-04-25T12:59:53Z</dcterms:modified>
</cp:coreProperties>
</file>